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</p:sldMasterIdLst>
  <p:notesMasterIdLst>
    <p:notesMasterId r:id="rId14"/>
  </p:notesMasterIdLst>
  <p:sldIdLst>
    <p:sldId id="290" r:id="rId5"/>
    <p:sldId id="2126987781" r:id="rId6"/>
    <p:sldId id="2573" r:id="rId7"/>
    <p:sldId id="2126987798" r:id="rId8"/>
    <p:sldId id="2126987808" r:id="rId9"/>
    <p:sldId id="2126987789" r:id="rId10"/>
    <p:sldId id="2126987812" r:id="rId11"/>
    <p:sldId id="2126987814" r:id="rId12"/>
    <p:sldId id="366" r:id="rId13"/>
  </p:sldIdLst>
  <p:sldSz cx="9144000" cy="5143500" type="screen16x9"/>
  <p:notesSz cx="6797675" cy="9874250"/>
  <p:defaultTextStyle>
    <a:defPPr>
      <a:defRPr lang="en-US"/>
    </a:defPPr>
    <a:lvl1pPr marL="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700"/>
    <a:srgbClr val="0070C0"/>
    <a:srgbClr val="001C30"/>
    <a:srgbClr val="90B8F4"/>
    <a:srgbClr val="A8C8F6"/>
    <a:srgbClr val="0099FF"/>
    <a:srgbClr val="9BD4FF"/>
    <a:srgbClr val="85CBFF"/>
    <a:srgbClr val="1111D5"/>
    <a:srgbClr val="6969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9D2293-3952-4335-90E1-0A6D9DDEFEE5}" v="208" dt="2023-05-23T10:10:24.0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854" autoAdjust="0"/>
    <p:restoredTop sz="91727" autoAdjust="0"/>
  </p:normalViewPr>
  <p:slideViewPr>
    <p:cSldViewPr snapToGrid="0" showGuides="1">
      <p:cViewPr varScale="1">
        <p:scale>
          <a:sx n="128" d="100"/>
          <a:sy n="128" d="100"/>
        </p:scale>
        <p:origin x="1614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uratidi, Michael V" userId="629c408c-ff96-4929-8e9e-82b40e96f28a" providerId="ADAL" clId="{186090CB-7D20-422D-AABD-7867BF3EACB9}"/>
    <pc:docChg chg="undo custSel addSld delSld modSld sldOrd delMainMaster">
      <pc:chgData name="Muratidi, Michael V" userId="629c408c-ff96-4929-8e9e-82b40e96f28a" providerId="ADAL" clId="{186090CB-7D20-422D-AABD-7867BF3EACB9}" dt="2023-05-20T06:12:49.644" v="820" actId="20577"/>
      <pc:docMkLst>
        <pc:docMk/>
      </pc:docMkLst>
      <pc:sldChg chg="delSp modSp">
        <pc:chgData name="Muratidi, Michael V" userId="629c408c-ff96-4929-8e9e-82b40e96f28a" providerId="ADAL" clId="{186090CB-7D20-422D-AABD-7867BF3EACB9}" dt="2023-05-20T04:51:07.403" v="576" actId="478"/>
        <pc:sldMkLst>
          <pc:docMk/>
          <pc:sldMk cId="2846088869" sldId="290"/>
        </pc:sldMkLst>
        <pc:spChg chg="mod">
          <ac:chgData name="Muratidi, Michael V" userId="629c408c-ff96-4929-8e9e-82b40e96f28a" providerId="ADAL" clId="{186090CB-7D20-422D-AABD-7867BF3EACB9}" dt="2023-05-20T04:18:38" v="211" actId="20577"/>
          <ac:spMkLst>
            <pc:docMk/>
            <pc:sldMk cId="2846088869" sldId="290"/>
            <ac:spMk id="8" creationId="{E8D6E8C5-8E66-5A4C-966C-191830348208}"/>
          </ac:spMkLst>
        </pc:spChg>
        <pc:spChg chg="mod">
          <ac:chgData name="Muratidi, Michael V" userId="629c408c-ff96-4929-8e9e-82b40e96f28a" providerId="ADAL" clId="{186090CB-7D20-422D-AABD-7867BF3EACB9}" dt="2023-05-20T04:18:26.561" v="195" actId="313"/>
          <ac:spMkLst>
            <pc:docMk/>
            <pc:sldMk cId="2846088869" sldId="290"/>
            <ac:spMk id="10" creationId="{191F0443-F0B7-B94A-913E-32B69E83021B}"/>
          </ac:spMkLst>
        </pc:spChg>
        <pc:spChg chg="del mod">
          <ac:chgData name="Muratidi, Michael V" userId="629c408c-ff96-4929-8e9e-82b40e96f28a" providerId="ADAL" clId="{186090CB-7D20-422D-AABD-7867BF3EACB9}" dt="2023-05-20T04:51:07.403" v="576" actId="478"/>
          <ac:spMkLst>
            <pc:docMk/>
            <pc:sldMk cId="2846088869" sldId="290"/>
            <ac:spMk id="11" creationId="{1C671359-EF44-FC4B-A795-D01B74F3EB1F}"/>
          </ac:spMkLst>
        </pc:spChg>
      </pc:sldChg>
      <pc:sldChg chg="addSp delSp modSp add del ord">
        <pc:chgData name="Muratidi, Michael V" userId="629c408c-ff96-4929-8e9e-82b40e96f28a" providerId="ADAL" clId="{186090CB-7D20-422D-AABD-7867BF3EACB9}" dt="2023-05-20T04:56:04.599" v="614" actId="20577"/>
        <pc:sldMkLst>
          <pc:docMk/>
          <pc:sldMk cId="2167099978" sldId="2573"/>
        </pc:sldMkLst>
        <pc:spChg chg="add del mod">
          <ac:chgData name="Muratidi, Michael V" userId="629c408c-ff96-4929-8e9e-82b40e96f28a" providerId="ADAL" clId="{186090CB-7D20-422D-AABD-7867BF3EACB9}" dt="2023-05-20T02:50:05.570" v="93" actId="478"/>
          <ac:spMkLst>
            <pc:docMk/>
            <pc:sldMk cId="2167099978" sldId="2573"/>
            <ac:spMk id="2" creationId="{D9CEDAFA-F9E3-4886-BDE8-D5261B7A59D4}"/>
          </ac:spMkLst>
        </pc:spChg>
        <pc:spChg chg="del">
          <ac:chgData name="Muratidi, Michael V" userId="629c408c-ff96-4929-8e9e-82b40e96f28a" providerId="ADAL" clId="{186090CB-7D20-422D-AABD-7867BF3EACB9}" dt="2023-05-20T04:51:13.304" v="577" actId="478"/>
          <ac:spMkLst>
            <pc:docMk/>
            <pc:sldMk cId="2167099978" sldId="2573"/>
            <ac:spMk id="8" creationId="{F56EE387-27D3-4C44-9732-B0434C31F636}"/>
          </ac:spMkLst>
        </pc:spChg>
        <pc:spChg chg="mod">
          <ac:chgData name="Muratidi, Michael V" userId="629c408c-ff96-4929-8e9e-82b40e96f28a" providerId="ADAL" clId="{186090CB-7D20-422D-AABD-7867BF3EACB9}" dt="2023-05-20T04:48:26.513" v="567" actId="1076"/>
          <ac:spMkLst>
            <pc:docMk/>
            <pc:sldMk cId="2167099978" sldId="2573"/>
            <ac:spMk id="10" creationId="{F3831C5F-3CAE-4C19-A1D5-44E4320399DA}"/>
          </ac:spMkLst>
        </pc:spChg>
        <pc:spChg chg="mod">
          <ac:chgData name="Muratidi, Michael V" userId="629c408c-ff96-4929-8e9e-82b40e96f28a" providerId="ADAL" clId="{186090CB-7D20-422D-AABD-7867BF3EACB9}" dt="2023-05-20T04:56:04.599" v="614" actId="20577"/>
          <ac:spMkLst>
            <pc:docMk/>
            <pc:sldMk cId="2167099978" sldId="2573"/>
            <ac:spMk id="15" creationId="{02F2E318-FAFA-4B51-89F2-5B5B209CC354}"/>
          </ac:spMkLst>
        </pc:spChg>
        <pc:spChg chg="add mod">
          <ac:chgData name="Muratidi, Michael V" userId="629c408c-ff96-4929-8e9e-82b40e96f28a" providerId="ADAL" clId="{186090CB-7D20-422D-AABD-7867BF3EACB9}" dt="2023-05-20T04:48:34.130" v="571" actId="122"/>
          <ac:spMkLst>
            <pc:docMk/>
            <pc:sldMk cId="2167099978" sldId="2573"/>
            <ac:spMk id="16" creationId="{B6323718-B8D4-4A6A-B50C-C953B105BE1D}"/>
          </ac:spMkLst>
        </pc:spChg>
        <pc:spChg chg="del">
          <ac:chgData name="Muratidi, Michael V" userId="629c408c-ff96-4929-8e9e-82b40e96f28a" providerId="ADAL" clId="{186090CB-7D20-422D-AABD-7867BF3EACB9}" dt="2023-05-20T04:50:53.607" v="573" actId="478"/>
          <ac:spMkLst>
            <pc:docMk/>
            <pc:sldMk cId="2167099978" sldId="2573"/>
            <ac:spMk id="18" creationId="{EB95AA3E-A98C-4EDC-8659-422FE4773CE9}"/>
          </ac:spMkLst>
        </pc:spChg>
        <pc:spChg chg="del">
          <ac:chgData name="Muratidi, Michael V" userId="629c408c-ff96-4929-8e9e-82b40e96f28a" providerId="ADAL" clId="{186090CB-7D20-422D-AABD-7867BF3EACB9}" dt="2023-05-20T04:50:55.060" v="574" actId="478"/>
          <ac:spMkLst>
            <pc:docMk/>
            <pc:sldMk cId="2167099978" sldId="2573"/>
            <ac:spMk id="19" creationId="{19D93DA0-8B15-4BAA-B0CF-9116EE52D1A6}"/>
          </ac:spMkLst>
        </pc:spChg>
        <pc:spChg chg="del mod">
          <ac:chgData name="Muratidi, Michael V" userId="629c408c-ff96-4929-8e9e-82b40e96f28a" providerId="ADAL" clId="{186090CB-7D20-422D-AABD-7867BF3EACB9}" dt="2023-05-20T04:43:49.072" v="478" actId="478"/>
          <ac:spMkLst>
            <pc:docMk/>
            <pc:sldMk cId="2167099978" sldId="2573"/>
            <ac:spMk id="20" creationId="{DAA1EDC9-D1D7-4EEA-9CD0-96617A403463}"/>
          </ac:spMkLst>
        </pc:spChg>
        <pc:spChg chg="del">
          <ac:chgData name="Muratidi, Michael V" userId="629c408c-ff96-4929-8e9e-82b40e96f28a" providerId="ADAL" clId="{186090CB-7D20-422D-AABD-7867BF3EACB9}" dt="2023-05-20T04:50:51.855" v="572" actId="478"/>
          <ac:spMkLst>
            <pc:docMk/>
            <pc:sldMk cId="2167099978" sldId="2573"/>
            <ac:spMk id="21" creationId="{AF06CDF0-11BC-43E3-85BE-19425C3E7886}"/>
          </ac:spMkLst>
        </pc:spChg>
        <pc:spChg chg="del">
          <ac:chgData name="Muratidi, Michael V" userId="629c408c-ff96-4929-8e9e-82b40e96f28a" providerId="ADAL" clId="{186090CB-7D20-422D-AABD-7867BF3EACB9}" dt="2023-05-20T04:47:27.225" v="553" actId="478"/>
          <ac:spMkLst>
            <pc:docMk/>
            <pc:sldMk cId="2167099978" sldId="2573"/>
            <ac:spMk id="55" creationId="{00000000-0000-0000-0000-000000000000}"/>
          </ac:spMkLst>
        </pc:spChg>
        <pc:picChg chg="mod">
          <ac:chgData name="Muratidi, Michael V" userId="629c408c-ff96-4929-8e9e-82b40e96f28a" providerId="ADAL" clId="{186090CB-7D20-422D-AABD-7867BF3EACB9}" dt="2023-05-20T04:43:43.428" v="476" actId="1076"/>
          <ac:picMkLst>
            <pc:docMk/>
            <pc:sldMk cId="2167099978" sldId="2573"/>
            <ac:picMk id="14" creationId="{347175A3-7246-4625-B1CD-42A25B3EEC3B}"/>
          </ac:picMkLst>
        </pc:picChg>
        <pc:picChg chg="del">
          <ac:chgData name="Muratidi, Michael V" userId="629c408c-ff96-4929-8e9e-82b40e96f28a" providerId="ADAL" clId="{186090CB-7D20-422D-AABD-7867BF3EACB9}" dt="2023-05-20T04:47:16.629" v="550" actId="478"/>
          <ac:picMkLst>
            <pc:docMk/>
            <pc:sldMk cId="2167099978" sldId="2573"/>
            <ac:picMk id="6146" creationId="{D41B7781-35FC-41FF-97B9-D32C1AA35698}"/>
          </ac:picMkLst>
        </pc:picChg>
        <pc:picChg chg="del mod">
          <ac:chgData name="Muratidi, Michael V" userId="629c408c-ff96-4929-8e9e-82b40e96f28a" providerId="ADAL" clId="{186090CB-7D20-422D-AABD-7867BF3EACB9}" dt="2023-05-20T04:47:15.523" v="549" actId="478"/>
          <ac:picMkLst>
            <pc:docMk/>
            <pc:sldMk cId="2167099978" sldId="2573"/>
            <ac:picMk id="6148" creationId="{B705209E-5E05-4D2B-82D3-B8A89BCE775F}"/>
          </ac:picMkLst>
        </pc:picChg>
        <pc:picChg chg="del mod">
          <ac:chgData name="Muratidi, Michael V" userId="629c408c-ff96-4929-8e9e-82b40e96f28a" providerId="ADAL" clId="{186090CB-7D20-422D-AABD-7867BF3EACB9}" dt="2023-05-20T04:47:15.009" v="548" actId="478"/>
          <ac:picMkLst>
            <pc:docMk/>
            <pc:sldMk cId="2167099978" sldId="2573"/>
            <ac:picMk id="6152" creationId="{DDE25940-CA24-4018-B288-BA234B80FA25}"/>
          </ac:picMkLst>
        </pc:picChg>
      </pc:sldChg>
      <pc:sldChg chg="addSp delSp modSp add del ord modNotesTx">
        <pc:chgData name="Muratidi, Michael V" userId="629c408c-ff96-4929-8e9e-82b40e96f28a" providerId="ADAL" clId="{186090CB-7D20-422D-AABD-7867BF3EACB9}" dt="2023-05-20T06:07:41.752" v="778" actId="6549"/>
        <pc:sldMkLst>
          <pc:docMk/>
          <pc:sldMk cId="1150452625" sldId="2126987781"/>
        </pc:sldMkLst>
        <pc:spChg chg="mod">
          <ac:chgData name="Muratidi, Michael V" userId="629c408c-ff96-4929-8e9e-82b40e96f28a" providerId="ADAL" clId="{186090CB-7D20-422D-AABD-7867BF3EACB9}" dt="2023-05-20T05:08:15.137" v="619" actId="14100"/>
          <ac:spMkLst>
            <pc:docMk/>
            <pc:sldMk cId="1150452625" sldId="2126987781"/>
            <ac:spMk id="4" creationId="{C39C95F8-2D61-FB45-8369-2E290EE5EEBC}"/>
          </ac:spMkLst>
        </pc:spChg>
        <pc:spChg chg="add mod">
          <ac:chgData name="Muratidi, Michael V" userId="629c408c-ff96-4929-8e9e-82b40e96f28a" providerId="ADAL" clId="{186090CB-7D20-422D-AABD-7867BF3EACB9}" dt="2023-05-20T04:34:22.823" v="303" actId="1037"/>
          <ac:spMkLst>
            <pc:docMk/>
            <pc:sldMk cId="1150452625" sldId="2126987781"/>
            <ac:spMk id="11" creationId="{1DB59967-1F54-4D44-AF44-688CB954E4FE}"/>
          </ac:spMkLst>
        </pc:spChg>
        <pc:spChg chg="add mod">
          <ac:chgData name="Muratidi, Michael V" userId="629c408c-ff96-4929-8e9e-82b40e96f28a" providerId="ADAL" clId="{186090CB-7D20-422D-AABD-7867BF3EACB9}" dt="2023-05-20T04:34:22.823" v="303" actId="1037"/>
          <ac:spMkLst>
            <pc:docMk/>
            <pc:sldMk cId="1150452625" sldId="2126987781"/>
            <ac:spMk id="12" creationId="{44D623CB-F9C3-4675-A2AC-66C7F3872DED}"/>
          </ac:spMkLst>
        </pc:spChg>
        <pc:spChg chg="add mod">
          <ac:chgData name="Muratidi, Michael V" userId="629c408c-ff96-4929-8e9e-82b40e96f28a" providerId="ADAL" clId="{186090CB-7D20-422D-AABD-7867BF3EACB9}" dt="2023-05-20T04:34:22.823" v="303" actId="1037"/>
          <ac:spMkLst>
            <pc:docMk/>
            <pc:sldMk cId="1150452625" sldId="2126987781"/>
            <ac:spMk id="13" creationId="{2FD3D603-890E-4E2C-BD70-31D68678816C}"/>
          </ac:spMkLst>
        </pc:spChg>
        <pc:spChg chg="add mod">
          <ac:chgData name="Muratidi, Michael V" userId="629c408c-ff96-4929-8e9e-82b40e96f28a" providerId="ADAL" clId="{186090CB-7D20-422D-AABD-7867BF3EACB9}" dt="2023-05-20T04:34:22.823" v="303" actId="1037"/>
          <ac:spMkLst>
            <pc:docMk/>
            <pc:sldMk cId="1150452625" sldId="2126987781"/>
            <ac:spMk id="14" creationId="{BA259499-4996-4155-8B98-9A81ADD7D9B7}"/>
          </ac:spMkLst>
        </pc:spChg>
        <pc:spChg chg="add mod">
          <ac:chgData name="Muratidi, Michael V" userId="629c408c-ff96-4929-8e9e-82b40e96f28a" providerId="ADAL" clId="{186090CB-7D20-422D-AABD-7867BF3EACB9}" dt="2023-05-20T04:35:57.632" v="375" actId="20577"/>
          <ac:spMkLst>
            <pc:docMk/>
            <pc:sldMk cId="1150452625" sldId="2126987781"/>
            <ac:spMk id="18" creationId="{BCDD9955-D710-4D4A-A1F5-073F6C947982}"/>
          </ac:spMkLst>
        </pc:spChg>
        <pc:spChg chg="add mod">
          <ac:chgData name="Muratidi, Michael V" userId="629c408c-ff96-4929-8e9e-82b40e96f28a" providerId="ADAL" clId="{186090CB-7D20-422D-AABD-7867BF3EACB9}" dt="2023-05-20T04:36:09.831" v="391" actId="1037"/>
          <ac:spMkLst>
            <pc:docMk/>
            <pc:sldMk cId="1150452625" sldId="2126987781"/>
            <ac:spMk id="19" creationId="{4C3C1128-8135-4019-99E9-E5DFFE796140}"/>
          </ac:spMkLst>
        </pc:spChg>
        <pc:spChg chg="mod">
          <ac:chgData name="Muratidi, Michael V" userId="629c408c-ff96-4929-8e9e-82b40e96f28a" providerId="ADAL" clId="{186090CB-7D20-422D-AABD-7867BF3EACB9}" dt="2023-05-20T04:28:13.620" v="217" actId="207"/>
          <ac:spMkLst>
            <pc:docMk/>
            <pc:sldMk cId="1150452625" sldId="2126987781"/>
            <ac:spMk id="43" creationId="{1253BB67-8AFF-7656-7DD1-37AF9AF19082}"/>
          </ac:spMkLst>
        </pc:spChg>
        <pc:spChg chg="mod">
          <ac:chgData name="Muratidi, Michael V" userId="629c408c-ff96-4929-8e9e-82b40e96f28a" providerId="ADAL" clId="{186090CB-7D20-422D-AABD-7867BF3EACB9}" dt="2023-05-20T04:29:11.665" v="226" actId="14100"/>
          <ac:spMkLst>
            <pc:docMk/>
            <pc:sldMk cId="1150452625" sldId="2126987781"/>
            <ac:spMk id="44" creationId="{4EEF2F92-5188-BFFF-2DE8-963B0677A18C}"/>
          </ac:spMkLst>
        </pc:spChg>
        <pc:spChg chg="add del mod">
          <ac:chgData name="Muratidi, Michael V" userId="629c408c-ff96-4929-8e9e-82b40e96f28a" providerId="ADAL" clId="{186090CB-7D20-422D-AABD-7867BF3EACB9}" dt="2023-05-20T04:28:31.490" v="220" actId="207"/>
          <ac:spMkLst>
            <pc:docMk/>
            <pc:sldMk cId="1150452625" sldId="2126987781"/>
            <ac:spMk id="72" creationId="{97263945-292D-0B74-F534-09F06584DAC6}"/>
          </ac:spMkLst>
        </pc:spChg>
        <pc:spChg chg="mod">
          <ac:chgData name="Muratidi, Michael V" userId="629c408c-ff96-4929-8e9e-82b40e96f28a" providerId="ADAL" clId="{186090CB-7D20-422D-AABD-7867BF3EACB9}" dt="2023-05-20T04:29:01.908" v="223" actId="1076"/>
          <ac:spMkLst>
            <pc:docMk/>
            <pc:sldMk cId="1150452625" sldId="2126987781"/>
            <ac:spMk id="73" creationId="{43810D26-45D6-524E-9D02-AB1DE8526E6C}"/>
          </ac:spMkLst>
        </pc:spChg>
        <pc:spChg chg="del">
          <ac:chgData name="Muratidi, Michael V" userId="629c408c-ff96-4929-8e9e-82b40e96f28a" providerId="ADAL" clId="{186090CB-7D20-422D-AABD-7867BF3EACB9}" dt="2023-05-20T04:34:02.744" v="285" actId="478"/>
          <ac:spMkLst>
            <pc:docMk/>
            <pc:sldMk cId="1150452625" sldId="2126987781"/>
            <ac:spMk id="74" creationId="{BBAE71FC-21F4-137F-0778-DFCE2C8A38C4}"/>
          </ac:spMkLst>
        </pc:spChg>
        <pc:grpChg chg="mod">
          <ac:chgData name="Muratidi, Michael V" userId="629c408c-ff96-4929-8e9e-82b40e96f28a" providerId="ADAL" clId="{186090CB-7D20-422D-AABD-7867BF3EACB9}" dt="2023-05-20T04:34:22.823" v="303" actId="1037"/>
          <ac:grpSpMkLst>
            <pc:docMk/>
            <pc:sldMk cId="1150452625" sldId="2126987781"/>
            <ac:grpSpMk id="42" creationId="{7BEF7803-0332-E11E-4320-0C628C12E549}"/>
          </ac:grpSpMkLst>
        </pc:grpChg>
        <pc:cxnChg chg="add mod">
          <ac:chgData name="Muratidi, Michael V" userId="629c408c-ff96-4929-8e9e-82b40e96f28a" providerId="ADAL" clId="{186090CB-7D20-422D-AABD-7867BF3EACB9}" dt="2023-05-20T04:34:31.768" v="336" actId="1038"/>
          <ac:cxnSpMkLst>
            <pc:docMk/>
            <pc:sldMk cId="1150452625" sldId="2126987781"/>
            <ac:cxnSpMk id="6" creationId="{2C7E36DC-07D3-4EE8-9834-2A6803B933A1}"/>
          </ac:cxnSpMkLst>
        </pc:cxnChg>
      </pc:sldChg>
      <pc:sldChg chg="add del ord">
        <pc:chgData name="Muratidi, Michael V" userId="629c408c-ff96-4929-8e9e-82b40e96f28a" providerId="ADAL" clId="{186090CB-7D20-422D-AABD-7867BF3EACB9}" dt="2023-05-20T05:47:09.293" v="729"/>
        <pc:sldMkLst>
          <pc:docMk/>
          <pc:sldMk cId="2797939450" sldId="2126987789"/>
        </pc:sldMkLst>
      </pc:sldChg>
      <pc:sldChg chg="delSp modSp add del ord modNotesTx">
        <pc:chgData name="Muratidi, Michael V" userId="629c408c-ff96-4929-8e9e-82b40e96f28a" providerId="ADAL" clId="{186090CB-7D20-422D-AABD-7867BF3EACB9}" dt="2023-05-20T06:07:34.446" v="777" actId="6549"/>
        <pc:sldMkLst>
          <pc:docMk/>
          <pc:sldMk cId="2579242364" sldId="2126987798"/>
        </pc:sldMkLst>
        <pc:spChg chg="mod">
          <ac:chgData name="Muratidi, Michael V" userId="629c408c-ff96-4929-8e9e-82b40e96f28a" providerId="ADAL" clId="{186090CB-7D20-422D-AABD-7867BF3EACB9}" dt="2023-05-20T05:27:18.929" v="655" actId="6549"/>
          <ac:spMkLst>
            <pc:docMk/>
            <pc:sldMk cId="2579242364" sldId="2126987798"/>
            <ac:spMk id="3" creationId="{9C62D428-6E8A-77F7-E531-C1E1CBA2AFC4}"/>
          </ac:spMkLst>
        </pc:spChg>
        <pc:spChg chg="del mod">
          <ac:chgData name="Muratidi, Michael V" userId="629c408c-ff96-4929-8e9e-82b40e96f28a" providerId="ADAL" clId="{186090CB-7D20-422D-AABD-7867BF3EACB9}" dt="2023-05-20T05:15:56.661" v="622" actId="478"/>
          <ac:spMkLst>
            <pc:docMk/>
            <pc:sldMk cId="2579242364" sldId="2126987798"/>
            <ac:spMk id="7" creationId="{93F1AF82-DF02-9131-F731-4AB7813A2008}"/>
          </ac:spMkLst>
        </pc:spChg>
        <pc:spChg chg="del">
          <ac:chgData name="Muratidi, Michael V" userId="629c408c-ff96-4929-8e9e-82b40e96f28a" providerId="ADAL" clId="{186090CB-7D20-422D-AABD-7867BF3EACB9}" dt="2023-05-20T05:15:57.573" v="623" actId="478"/>
          <ac:spMkLst>
            <pc:docMk/>
            <pc:sldMk cId="2579242364" sldId="2126987798"/>
            <ac:spMk id="8" creationId="{1C69FAAB-90C7-5BD2-B839-1F122002739B}"/>
          </ac:spMkLst>
        </pc:spChg>
        <pc:spChg chg="mod">
          <ac:chgData name="Muratidi, Michael V" userId="629c408c-ff96-4929-8e9e-82b40e96f28a" providerId="ADAL" clId="{186090CB-7D20-422D-AABD-7867BF3EACB9}" dt="2023-05-20T05:15:13.682" v="620" actId="6549"/>
          <ac:spMkLst>
            <pc:docMk/>
            <pc:sldMk cId="2579242364" sldId="2126987798"/>
            <ac:spMk id="15" creationId="{E8858649-E1DF-08B9-BB8A-180F06DCB420}"/>
          </ac:spMkLst>
        </pc:spChg>
        <pc:spChg chg="mod">
          <ac:chgData name="Muratidi, Michael V" userId="629c408c-ff96-4929-8e9e-82b40e96f28a" providerId="ADAL" clId="{186090CB-7D20-422D-AABD-7867BF3EACB9}" dt="2023-05-20T05:26:40.149" v="624" actId="14100"/>
          <ac:spMkLst>
            <pc:docMk/>
            <pc:sldMk cId="2579242364" sldId="2126987798"/>
            <ac:spMk id="21" creationId="{915FDCB7-15D7-0D4F-1986-5759EB765AB0}"/>
          </ac:spMkLst>
        </pc:spChg>
        <pc:picChg chg="mod">
          <ac:chgData name="Muratidi, Michael V" userId="629c408c-ff96-4929-8e9e-82b40e96f28a" providerId="ADAL" clId="{186090CB-7D20-422D-AABD-7867BF3EACB9}" dt="2023-05-20T05:26:54.276" v="632" actId="1036"/>
          <ac:picMkLst>
            <pc:docMk/>
            <pc:sldMk cId="2579242364" sldId="2126987798"/>
            <ac:picMk id="2" creationId="{377D7AF1-20BD-66EF-A23B-88CC132CBE7D}"/>
          </ac:picMkLst>
        </pc:picChg>
        <pc:picChg chg="mod">
          <ac:chgData name="Muratidi, Michael V" userId="629c408c-ff96-4929-8e9e-82b40e96f28a" providerId="ADAL" clId="{186090CB-7D20-422D-AABD-7867BF3EACB9}" dt="2023-05-20T05:26:54.276" v="632" actId="1036"/>
          <ac:picMkLst>
            <pc:docMk/>
            <pc:sldMk cId="2579242364" sldId="2126987798"/>
            <ac:picMk id="4" creationId="{DB489A54-A25B-7868-763F-1481D5F55CDC}"/>
          </ac:picMkLst>
        </pc:picChg>
        <pc:picChg chg="mod">
          <ac:chgData name="Muratidi, Michael V" userId="629c408c-ff96-4929-8e9e-82b40e96f28a" providerId="ADAL" clId="{186090CB-7D20-422D-AABD-7867BF3EACB9}" dt="2023-05-20T05:27:01.040" v="652" actId="1036"/>
          <ac:picMkLst>
            <pc:docMk/>
            <pc:sldMk cId="2579242364" sldId="2126987798"/>
            <ac:picMk id="6" creationId="{1372B234-3317-E51D-70BB-07ED2258C8A0}"/>
          </ac:picMkLst>
        </pc:picChg>
        <pc:picChg chg="mod">
          <ac:chgData name="Muratidi, Michael V" userId="629c408c-ff96-4929-8e9e-82b40e96f28a" providerId="ADAL" clId="{186090CB-7D20-422D-AABD-7867BF3EACB9}" dt="2023-05-20T05:27:26.756" v="672" actId="1036"/>
          <ac:picMkLst>
            <pc:docMk/>
            <pc:sldMk cId="2579242364" sldId="2126987798"/>
            <ac:picMk id="10" creationId="{0AAFA93D-3E31-0C9E-11B5-B5B7EE9D255C}"/>
          </ac:picMkLst>
        </pc:picChg>
        <pc:picChg chg="mod">
          <ac:chgData name="Muratidi, Michael V" userId="629c408c-ff96-4929-8e9e-82b40e96f28a" providerId="ADAL" clId="{186090CB-7D20-422D-AABD-7867BF3EACB9}" dt="2023-05-20T05:27:26.756" v="672" actId="1036"/>
          <ac:picMkLst>
            <pc:docMk/>
            <pc:sldMk cId="2579242364" sldId="2126987798"/>
            <ac:picMk id="11" creationId="{813B2957-49DE-149E-957D-5A67FC153841}"/>
          </ac:picMkLst>
        </pc:picChg>
      </pc:sldChg>
      <pc:sldChg chg="delSp modSp add del ord">
        <pc:chgData name="Muratidi, Michael V" userId="629c408c-ff96-4929-8e9e-82b40e96f28a" providerId="ADAL" clId="{186090CB-7D20-422D-AABD-7867BF3EACB9}" dt="2023-05-20T05:39:39.670" v="726" actId="20577"/>
        <pc:sldMkLst>
          <pc:docMk/>
          <pc:sldMk cId="648849813" sldId="2126987808"/>
        </pc:sldMkLst>
        <pc:spChg chg="mod">
          <ac:chgData name="Muratidi, Michael V" userId="629c408c-ff96-4929-8e9e-82b40e96f28a" providerId="ADAL" clId="{186090CB-7D20-422D-AABD-7867BF3EACB9}" dt="2023-05-20T05:39:39.670" v="726" actId="20577"/>
          <ac:spMkLst>
            <pc:docMk/>
            <pc:sldMk cId="648849813" sldId="2126987808"/>
            <ac:spMk id="9" creationId="{41F7F258-5F43-A4C5-4FD8-02EBF7308FA8}"/>
          </ac:spMkLst>
        </pc:spChg>
        <pc:spChg chg="del mod">
          <ac:chgData name="Muratidi, Michael V" userId="629c408c-ff96-4929-8e9e-82b40e96f28a" providerId="ADAL" clId="{186090CB-7D20-422D-AABD-7867BF3EACB9}" dt="2023-05-20T05:39:21.329" v="719" actId="478"/>
          <ac:spMkLst>
            <pc:docMk/>
            <pc:sldMk cId="648849813" sldId="2126987808"/>
            <ac:spMk id="10" creationId="{D8C07246-1B3B-4C47-32DA-17D3C3252060}"/>
          </ac:spMkLst>
        </pc:spChg>
        <pc:spChg chg="mod">
          <ac:chgData name="Muratidi, Michael V" userId="629c408c-ff96-4929-8e9e-82b40e96f28a" providerId="ADAL" clId="{186090CB-7D20-422D-AABD-7867BF3EACB9}" dt="2023-05-20T05:30:03.482" v="697" actId="207"/>
          <ac:spMkLst>
            <pc:docMk/>
            <pc:sldMk cId="648849813" sldId="2126987808"/>
            <ac:spMk id="115" creationId="{71EFA4E3-FADA-5317-A746-7257C3801E89}"/>
          </ac:spMkLst>
        </pc:spChg>
        <pc:spChg chg="mod">
          <ac:chgData name="Muratidi, Michael V" userId="629c408c-ff96-4929-8e9e-82b40e96f28a" providerId="ADAL" clId="{186090CB-7D20-422D-AABD-7867BF3EACB9}" dt="2023-05-20T05:30:37.057" v="701" actId="207"/>
          <ac:spMkLst>
            <pc:docMk/>
            <pc:sldMk cId="648849813" sldId="2126987808"/>
            <ac:spMk id="116" creationId="{ED748336-90E5-6A4B-CC77-D81F582BDB2E}"/>
          </ac:spMkLst>
        </pc:spChg>
        <pc:spChg chg="mod">
          <ac:chgData name="Muratidi, Michael V" userId="629c408c-ff96-4929-8e9e-82b40e96f28a" providerId="ADAL" clId="{186090CB-7D20-422D-AABD-7867BF3EACB9}" dt="2023-05-20T05:30:26.511" v="698" actId="207"/>
          <ac:spMkLst>
            <pc:docMk/>
            <pc:sldMk cId="648849813" sldId="2126987808"/>
            <ac:spMk id="117" creationId="{B6F82581-6C9F-7A5A-0554-B6B62D18EFF5}"/>
          </ac:spMkLst>
        </pc:spChg>
        <pc:spChg chg="mod">
          <ac:chgData name="Muratidi, Michael V" userId="629c408c-ff96-4929-8e9e-82b40e96f28a" providerId="ADAL" clId="{186090CB-7D20-422D-AABD-7867BF3EACB9}" dt="2023-05-20T04:41:31.403" v="398" actId="14100"/>
          <ac:spMkLst>
            <pc:docMk/>
            <pc:sldMk cId="648849813" sldId="2126987808"/>
            <ac:spMk id="118" creationId="{CF542633-C335-E631-2879-FF37547A13A0}"/>
          </ac:spMkLst>
        </pc:spChg>
        <pc:spChg chg="mod">
          <ac:chgData name="Muratidi, Michael V" userId="629c408c-ff96-4929-8e9e-82b40e96f28a" providerId="ADAL" clId="{186090CB-7D20-422D-AABD-7867BF3EACB9}" dt="2023-05-20T02:48:33.709" v="81" actId="27636"/>
          <ac:spMkLst>
            <pc:docMk/>
            <pc:sldMk cId="648849813" sldId="2126987808"/>
            <ac:spMk id="119" creationId="{4B993C45-7FAA-AF29-E471-D61B6FC6C9FD}"/>
          </ac:spMkLst>
        </pc:spChg>
        <pc:spChg chg="del mod">
          <ac:chgData name="Muratidi, Michael V" userId="629c408c-ff96-4929-8e9e-82b40e96f28a" providerId="ADAL" clId="{186090CB-7D20-422D-AABD-7867BF3EACB9}" dt="2023-05-20T05:38:57.990" v="718" actId="478"/>
          <ac:spMkLst>
            <pc:docMk/>
            <pc:sldMk cId="648849813" sldId="2126987808"/>
            <ac:spMk id="129" creationId="{A614A038-CC05-D282-357F-0AFAE63B88CC}"/>
          </ac:spMkLst>
        </pc:spChg>
        <pc:spChg chg="mod">
          <ac:chgData name="Muratidi, Michael V" userId="629c408c-ff96-4929-8e9e-82b40e96f28a" providerId="ADAL" clId="{186090CB-7D20-422D-AABD-7867BF3EACB9}" dt="2023-05-20T05:29:26.303" v="691" actId="1076"/>
          <ac:spMkLst>
            <pc:docMk/>
            <pc:sldMk cId="648849813" sldId="2126987808"/>
            <ac:spMk id="130" creationId="{CEAA91FA-7FC9-7E49-A54A-34D08A69C20F}"/>
          </ac:spMkLst>
        </pc:spChg>
        <pc:spChg chg="mod">
          <ac:chgData name="Muratidi, Michael V" userId="629c408c-ff96-4929-8e9e-82b40e96f28a" providerId="ADAL" clId="{186090CB-7D20-422D-AABD-7867BF3EACB9}" dt="2023-05-20T05:29:48.619" v="696" actId="207"/>
          <ac:spMkLst>
            <pc:docMk/>
            <pc:sldMk cId="648849813" sldId="2126987808"/>
            <ac:spMk id="138" creationId="{34750A2E-F1F6-BF2C-14C7-9473A17CD354}"/>
          </ac:spMkLst>
        </pc:spChg>
        <pc:spChg chg="mod">
          <ac:chgData name="Muratidi, Michael V" userId="629c408c-ff96-4929-8e9e-82b40e96f28a" providerId="ADAL" clId="{186090CB-7D20-422D-AABD-7867BF3EACB9}" dt="2023-05-20T05:30:43.671" v="702" actId="207"/>
          <ac:spMkLst>
            <pc:docMk/>
            <pc:sldMk cId="648849813" sldId="2126987808"/>
            <ac:spMk id="143" creationId="{404923EA-FD6F-4244-DD92-7FDCD24F3975}"/>
          </ac:spMkLst>
        </pc:spChg>
        <pc:cxnChg chg="mod">
          <ac:chgData name="Muratidi, Michael V" userId="629c408c-ff96-4929-8e9e-82b40e96f28a" providerId="ADAL" clId="{186090CB-7D20-422D-AABD-7867BF3EACB9}" dt="2023-05-20T04:41:19.222" v="395" actId="1076"/>
          <ac:cxnSpMkLst>
            <pc:docMk/>
            <pc:sldMk cId="648849813" sldId="2126987808"/>
            <ac:cxnSpMk id="60" creationId="{BE14E285-DB3A-EF7C-39F7-BC4A69BA978A}"/>
          </ac:cxnSpMkLst>
        </pc:cxnChg>
        <pc:cxnChg chg="mod">
          <ac:chgData name="Muratidi, Michael V" userId="629c408c-ff96-4929-8e9e-82b40e96f28a" providerId="ADAL" clId="{186090CB-7D20-422D-AABD-7867BF3EACB9}" dt="2023-05-20T04:41:19.222" v="395" actId="1076"/>
          <ac:cxnSpMkLst>
            <pc:docMk/>
            <pc:sldMk cId="648849813" sldId="2126987808"/>
            <ac:cxnSpMk id="80" creationId="{B6E7D26D-631D-DCF8-3210-50A70E87DC0F}"/>
          </ac:cxnSpMkLst>
        </pc:cxnChg>
        <pc:cxnChg chg="mod">
          <ac:chgData name="Muratidi, Michael V" userId="629c408c-ff96-4929-8e9e-82b40e96f28a" providerId="ADAL" clId="{186090CB-7D20-422D-AABD-7867BF3EACB9}" dt="2023-05-20T05:29:26.303" v="691" actId="1076"/>
          <ac:cxnSpMkLst>
            <pc:docMk/>
            <pc:sldMk cId="648849813" sldId="2126987808"/>
            <ac:cxnSpMk id="136" creationId="{13EFF09E-9133-7AD4-D798-27C20EF37A71}"/>
          </ac:cxnSpMkLst>
        </pc:cxnChg>
        <pc:cxnChg chg="mod">
          <ac:chgData name="Muratidi, Michael V" userId="629c408c-ff96-4929-8e9e-82b40e96f28a" providerId="ADAL" clId="{186090CB-7D20-422D-AABD-7867BF3EACB9}" dt="2023-05-20T05:29:26.303" v="691" actId="1076"/>
          <ac:cxnSpMkLst>
            <pc:docMk/>
            <pc:sldMk cId="648849813" sldId="2126987808"/>
            <ac:cxnSpMk id="144" creationId="{CAEC6AEA-B04E-E842-B34F-C23A575909A5}"/>
          </ac:cxnSpMkLst>
        </pc:cxnChg>
      </pc:sldChg>
      <pc:sldChg chg="addSp delSp modSp add modNotesTx">
        <pc:chgData name="Muratidi, Michael V" userId="629c408c-ff96-4929-8e9e-82b40e96f28a" providerId="ADAL" clId="{186090CB-7D20-422D-AABD-7867BF3EACB9}" dt="2023-05-20T06:07:27.816" v="776" actId="6549"/>
        <pc:sldMkLst>
          <pc:docMk/>
          <pc:sldMk cId="2387635779" sldId="2126987812"/>
        </pc:sldMkLst>
        <pc:spChg chg="mod">
          <ac:chgData name="Muratidi, Michael V" userId="629c408c-ff96-4929-8e9e-82b40e96f28a" providerId="ADAL" clId="{186090CB-7D20-422D-AABD-7867BF3EACB9}" dt="2023-05-20T05:58:05.377" v="744" actId="20577"/>
          <ac:spMkLst>
            <pc:docMk/>
            <pc:sldMk cId="2387635779" sldId="2126987812"/>
            <ac:spMk id="1044" creationId="{D8357DB4-53A6-BE81-5D03-A5676322E53D}"/>
          </ac:spMkLst>
        </pc:spChg>
        <pc:picChg chg="del">
          <ac:chgData name="Muratidi, Michael V" userId="629c408c-ff96-4929-8e9e-82b40e96f28a" providerId="ADAL" clId="{186090CB-7D20-422D-AABD-7867BF3EACB9}" dt="2023-05-20T05:57:39.859" v="739" actId="478"/>
          <ac:picMkLst>
            <pc:docMk/>
            <pc:sldMk cId="2387635779" sldId="2126987812"/>
            <ac:picMk id="10" creationId="{2E668248-A0C3-168B-AE5C-D84F951E96A9}"/>
          </ac:picMkLst>
        </pc:picChg>
        <pc:picChg chg="add mod">
          <ac:chgData name="Muratidi, Michael V" userId="629c408c-ff96-4929-8e9e-82b40e96f28a" providerId="ADAL" clId="{186090CB-7D20-422D-AABD-7867BF3EACB9}" dt="2023-05-20T05:57:46.886" v="741" actId="14100"/>
          <ac:picMkLst>
            <pc:docMk/>
            <pc:sldMk cId="2387635779" sldId="2126987812"/>
            <ac:picMk id="11" creationId="{AF9F0133-91D0-4C43-B6CF-DF5A4787CD9C}"/>
          </ac:picMkLst>
        </pc:picChg>
        <pc:picChg chg="del">
          <ac:chgData name="Muratidi, Michael V" userId="629c408c-ff96-4929-8e9e-82b40e96f28a" providerId="ADAL" clId="{186090CB-7D20-422D-AABD-7867BF3EACB9}" dt="2023-05-20T05:57:31.867" v="735" actId="478"/>
          <ac:picMkLst>
            <pc:docMk/>
            <pc:sldMk cId="2387635779" sldId="2126987812"/>
            <ac:picMk id="1038" creationId="{0CD988CA-01A9-7CE8-DD47-D356A3456A61}"/>
          </ac:picMkLst>
        </pc:picChg>
      </pc:sldChg>
      <pc:sldChg chg="addSp delSp modSp add ord delAnim modAnim">
        <pc:chgData name="Muratidi, Michael V" userId="629c408c-ff96-4929-8e9e-82b40e96f28a" providerId="ADAL" clId="{186090CB-7D20-422D-AABD-7867BF3EACB9}" dt="2023-05-20T06:12:49.644" v="820" actId="20577"/>
        <pc:sldMkLst>
          <pc:docMk/>
          <pc:sldMk cId="2737395992" sldId="2126987814"/>
        </pc:sldMkLst>
        <pc:spChg chg="del">
          <ac:chgData name="Muratidi, Michael V" userId="629c408c-ff96-4929-8e9e-82b40e96f28a" providerId="ADAL" clId="{186090CB-7D20-422D-AABD-7867BF3EACB9}" dt="2023-05-20T06:11:10.111" v="784" actId="478"/>
          <ac:spMkLst>
            <pc:docMk/>
            <pc:sldMk cId="2737395992" sldId="2126987814"/>
            <ac:spMk id="3" creationId="{9C62D428-6E8A-77F7-E531-C1E1CBA2AFC4}"/>
          </ac:spMkLst>
        </pc:spChg>
        <pc:spChg chg="add del mod">
          <ac:chgData name="Muratidi, Michael V" userId="629c408c-ff96-4929-8e9e-82b40e96f28a" providerId="ADAL" clId="{186090CB-7D20-422D-AABD-7867BF3EACB9}" dt="2023-05-20T06:11:25.729" v="789" actId="478"/>
          <ac:spMkLst>
            <pc:docMk/>
            <pc:sldMk cId="2737395992" sldId="2126987814"/>
            <ac:spMk id="14" creationId="{E619A385-5974-4DC6-AFA0-514091D25F05}"/>
          </ac:spMkLst>
        </pc:spChg>
        <pc:spChg chg="mod">
          <ac:chgData name="Muratidi, Michael V" userId="629c408c-ff96-4929-8e9e-82b40e96f28a" providerId="ADAL" clId="{186090CB-7D20-422D-AABD-7867BF3EACB9}" dt="2023-05-20T06:11:29.048" v="790" actId="6549"/>
          <ac:spMkLst>
            <pc:docMk/>
            <pc:sldMk cId="2737395992" sldId="2126987814"/>
            <ac:spMk id="15" creationId="{E8858649-E1DF-08B9-BB8A-180F06DCB420}"/>
          </ac:spMkLst>
        </pc:spChg>
        <pc:spChg chg="add">
          <ac:chgData name="Muratidi, Michael V" userId="629c408c-ff96-4929-8e9e-82b40e96f28a" providerId="ADAL" clId="{186090CB-7D20-422D-AABD-7867BF3EACB9}" dt="2023-05-20T06:11:14.334" v="786"/>
          <ac:spMkLst>
            <pc:docMk/>
            <pc:sldMk cId="2737395992" sldId="2126987814"/>
            <ac:spMk id="19" creationId="{5ACEFC4C-FBEA-4A4C-A2E5-A204E2FE1444}"/>
          </ac:spMkLst>
        </pc:spChg>
        <pc:spChg chg="add">
          <ac:chgData name="Muratidi, Michael V" userId="629c408c-ff96-4929-8e9e-82b40e96f28a" providerId="ADAL" clId="{186090CB-7D20-422D-AABD-7867BF3EACB9}" dt="2023-05-20T06:11:14.334" v="786"/>
          <ac:spMkLst>
            <pc:docMk/>
            <pc:sldMk cId="2737395992" sldId="2126987814"/>
            <ac:spMk id="20" creationId="{4722C3F4-2E2A-4DA4-B6F5-5FE2FA8757EC}"/>
          </ac:spMkLst>
        </pc:spChg>
        <pc:spChg chg="del">
          <ac:chgData name="Muratidi, Michael V" userId="629c408c-ff96-4929-8e9e-82b40e96f28a" providerId="ADAL" clId="{186090CB-7D20-422D-AABD-7867BF3EACB9}" dt="2023-05-20T06:11:12.872" v="785" actId="478"/>
          <ac:spMkLst>
            <pc:docMk/>
            <pc:sldMk cId="2737395992" sldId="2126987814"/>
            <ac:spMk id="21" creationId="{915FDCB7-15D7-0D4F-1986-5759EB765AB0}"/>
          </ac:spMkLst>
        </pc:spChg>
        <pc:spChg chg="del">
          <ac:chgData name="Muratidi, Michael V" userId="629c408c-ff96-4929-8e9e-82b40e96f28a" providerId="ADAL" clId="{186090CB-7D20-422D-AABD-7867BF3EACB9}" dt="2023-05-20T06:11:12.872" v="785" actId="478"/>
          <ac:spMkLst>
            <pc:docMk/>
            <pc:sldMk cId="2737395992" sldId="2126987814"/>
            <ac:spMk id="22" creationId="{FCF06F69-002A-24B0-6EC7-AA79A8125796}"/>
          </ac:spMkLst>
        </pc:spChg>
        <pc:spChg chg="add">
          <ac:chgData name="Muratidi, Michael V" userId="629c408c-ff96-4929-8e9e-82b40e96f28a" providerId="ADAL" clId="{186090CB-7D20-422D-AABD-7867BF3EACB9}" dt="2023-05-20T06:11:14.334" v="786"/>
          <ac:spMkLst>
            <pc:docMk/>
            <pc:sldMk cId="2737395992" sldId="2126987814"/>
            <ac:spMk id="23" creationId="{744702DE-58F2-4342-93E6-455846FE4DF7}"/>
          </ac:spMkLst>
        </pc:spChg>
        <pc:spChg chg="add mod">
          <ac:chgData name="Muratidi, Michael V" userId="629c408c-ff96-4929-8e9e-82b40e96f28a" providerId="ADAL" clId="{186090CB-7D20-422D-AABD-7867BF3EACB9}" dt="2023-05-20T06:12:49.644" v="820" actId="20577"/>
          <ac:spMkLst>
            <pc:docMk/>
            <pc:sldMk cId="2737395992" sldId="2126987814"/>
            <ac:spMk id="24" creationId="{0E1E6A08-B8BC-43AA-8E44-CDEDC47643CF}"/>
          </ac:spMkLst>
        </pc:spChg>
        <pc:spChg chg="add">
          <ac:chgData name="Muratidi, Michael V" userId="629c408c-ff96-4929-8e9e-82b40e96f28a" providerId="ADAL" clId="{186090CB-7D20-422D-AABD-7867BF3EACB9}" dt="2023-05-20T06:11:14.334" v="786"/>
          <ac:spMkLst>
            <pc:docMk/>
            <pc:sldMk cId="2737395992" sldId="2126987814"/>
            <ac:spMk id="25" creationId="{1770AA86-EC17-4572-88FF-1542AE76FFB3}"/>
          </ac:spMkLst>
        </pc:spChg>
        <pc:spChg chg="add">
          <ac:chgData name="Muratidi, Michael V" userId="629c408c-ff96-4929-8e9e-82b40e96f28a" providerId="ADAL" clId="{186090CB-7D20-422D-AABD-7867BF3EACB9}" dt="2023-05-20T06:11:14.334" v="786"/>
          <ac:spMkLst>
            <pc:docMk/>
            <pc:sldMk cId="2737395992" sldId="2126987814"/>
            <ac:spMk id="26" creationId="{CE92DEB9-E7FF-40D4-9E1A-9149E7137F7B}"/>
          </ac:spMkLst>
        </pc:spChg>
        <pc:spChg chg="add">
          <ac:chgData name="Muratidi, Michael V" userId="629c408c-ff96-4929-8e9e-82b40e96f28a" providerId="ADAL" clId="{186090CB-7D20-422D-AABD-7867BF3EACB9}" dt="2023-05-20T06:11:14.334" v="786"/>
          <ac:spMkLst>
            <pc:docMk/>
            <pc:sldMk cId="2737395992" sldId="2126987814"/>
            <ac:spMk id="27" creationId="{B2C27638-9DF9-468C-88AB-532D92486C78}"/>
          </ac:spMkLst>
        </pc:spChg>
        <pc:spChg chg="add">
          <ac:chgData name="Muratidi, Michael V" userId="629c408c-ff96-4929-8e9e-82b40e96f28a" providerId="ADAL" clId="{186090CB-7D20-422D-AABD-7867BF3EACB9}" dt="2023-05-20T06:11:14.334" v="786"/>
          <ac:spMkLst>
            <pc:docMk/>
            <pc:sldMk cId="2737395992" sldId="2126987814"/>
            <ac:spMk id="28" creationId="{E1B3DA32-619E-49D5-9372-179FA2CC1926}"/>
          </ac:spMkLst>
        </pc:spChg>
        <pc:spChg chg="add del">
          <ac:chgData name="Muratidi, Michael V" userId="629c408c-ff96-4929-8e9e-82b40e96f28a" providerId="ADAL" clId="{186090CB-7D20-422D-AABD-7867BF3EACB9}" dt="2023-05-20T06:11:37.123" v="791" actId="478"/>
          <ac:spMkLst>
            <pc:docMk/>
            <pc:sldMk cId="2737395992" sldId="2126987814"/>
            <ac:spMk id="29" creationId="{3506E967-8748-441F-9170-8D2AE4EAADA6}"/>
          </ac:spMkLst>
        </pc:spChg>
        <pc:spChg chg="add mod">
          <ac:chgData name="Muratidi, Michael V" userId="629c408c-ff96-4929-8e9e-82b40e96f28a" providerId="ADAL" clId="{186090CB-7D20-422D-AABD-7867BF3EACB9}" dt="2023-05-20T06:12:09.294" v="813" actId="1076"/>
          <ac:spMkLst>
            <pc:docMk/>
            <pc:sldMk cId="2737395992" sldId="2126987814"/>
            <ac:spMk id="30" creationId="{F7CFED9D-E05B-4B50-937E-D5F0C1DB5966}"/>
          </ac:spMkLst>
        </pc:spChg>
        <pc:spChg chg="add mod">
          <ac:chgData name="Muratidi, Michael V" userId="629c408c-ff96-4929-8e9e-82b40e96f28a" providerId="ADAL" clId="{186090CB-7D20-422D-AABD-7867BF3EACB9}" dt="2023-05-20T06:12:12.935" v="814" actId="1076"/>
          <ac:spMkLst>
            <pc:docMk/>
            <pc:sldMk cId="2737395992" sldId="2126987814"/>
            <ac:spMk id="31" creationId="{CD556C89-2B20-4B71-8303-3368178A1C6C}"/>
          </ac:spMkLst>
        </pc:spChg>
        <pc:graphicFrameChg chg="add">
          <ac:chgData name="Muratidi, Michael V" userId="629c408c-ff96-4929-8e9e-82b40e96f28a" providerId="ADAL" clId="{186090CB-7D20-422D-AABD-7867BF3EACB9}" dt="2023-05-20T06:11:14.334" v="786"/>
          <ac:graphicFrameMkLst>
            <pc:docMk/>
            <pc:sldMk cId="2737395992" sldId="2126987814"/>
            <ac:graphicFrameMk id="17" creationId="{E5344D6B-4B48-4412-8DC2-FB868AF1B467}"/>
          </ac:graphicFrameMkLst>
        </pc:graphicFrameChg>
        <pc:picChg chg="del">
          <ac:chgData name="Muratidi, Michael V" userId="629c408c-ff96-4929-8e9e-82b40e96f28a" providerId="ADAL" clId="{186090CB-7D20-422D-AABD-7867BF3EACB9}" dt="2023-05-20T06:11:12.872" v="785" actId="478"/>
          <ac:picMkLst>
            <pc:docMk/>
            <pc:sldMk cId="2737395992" sldId="2126987814"/>
            <ac:picMk id="2" creationId="{377D7AF1-20BD-66EF-A23B-88CC132CBE7D}"/>
          </ac:picMkLst>
        </pc:picChg>
        <pc:picChg chg="del">
          <ac:chgData name="Muratidi, Michael V" userId="629c408c-ff96-4929-8e9e-82b40e96f28a" providerId="ADAL" clId="{186090CB-7D20-422D-AABD-7867BF3EACB9}" dt="2023-05-20T06:11:12.872" v="785" actId="478"/>
          <ac:picMkLst>
            <pc:docMk/>
            <pc:sldMk cId="2737395992" sldId="2126987814"/>
            <ac:picMk id="4" creationId="{DB489A54-A25B-7868-763F-1481D5F55CDC}"/>
          </ac:picMkLst>
        </pc:picChg>
        <pc:picChg chg="del">
          <ac:chgData name="Muratidi, Michael V" userId="629c408c-ff96-4929-8e9e-82b40e96f28a" providerId="ADAL" clId="{186090CB-7D20-422D-AABD-7867BF3EACB9}" dt="2023-05-20T06:11:12.872" v="785" actId="478"/>
          <ac:picMkLst>
            <pc:docMk/>
            <pc:sldMk cId="2737395992" sldId="2126987814"/>
            <ac:picMk id="6" creationId="{1372B234-3317-E51D-70BB-07ED2258C8A0}"/>
          </ac:picMkLst>
        </pc:picChg>
        <pc:picChg chg="del">
          <ac:chgData name="Muratidi, Michael V" userId="629c408c-ff96-4929-8e9e-82b40e96f28a" providerId="ADAL" clId="{186090CB-7D20-422D-AABD-7867BF3EACB9}" dt="2023-05-20T06:11:12.872" v="785" actId="478"/>
          <ac:picMkLst>
            <pc:docMk/>
            <pc:sldMk cId="2737395992" sldId="2126987814"/>
            <ac:picMk id="10" creationId="{0AAFA93D-3E31-0C9E-11B5-B5B7EE9D255C}"/>
          </ac:picMkLst>
        </pc:picChg>
        <pc:picChg chg="del">
          <ac:chgData name="Muratidi, Michael V" userId="629c408c-ff96-4929-8e9e-82b40e96f28a" providerId="ADAL" clId="{186090CB-7D20-422D-AABD-7867BF3EACB9}" dt="2023-05-20T06:11:12.872" v="785" actId="478"/>
          <ac:picMkLst>
            <pc:docMk/>
            <pc:sldMk cId="2737395992" sldId="2126987814"/>
            <ac:picMk id="11" creationId="{813B2957-49DE-149E-957D-5A67FC153841}"/>
          </ac:picMkLst>
        </pc:picChg>
        <pc:picChg chg="del">
          <ac:chgData name="Muratidi, Michael V" userId="629c408c-ff96-4929-8e9e-82b40e96f28a" providerId="ADAL" clId="{186090CB-7D20-422D-AABD-7867BF3EACB9}" dt="2023-05-20T06:11:12.872" v="785" actId="478"/>
          <ac:picMkLst>
            <pc:docMk/>
            <pc:sldMk cId="2737395992" sldId="2126987814"/>
            <ac:picMk id="31748" creationId="{35BE7332-707A-3C74-C70C-5AB5AF77C925}"/>
          </ac:picMkLst>
        </pc:picChg>
        <pc:picChg chg="del">
          <ac:chgData name="Muratidi, Michael V" userId="629c408c-ff96-4929-8e9e-82b40e96f28a" providerId="ADAL" clId="{186090CB-7D20-422D-AABD-7867BF3EACB9}" dt="2023-05-20T06:11:12.872" v="785" actId="478"/>
          <ac:picMkLst>
            <pc:docMk/>
            <pc:sldMk cId="2737395992" sldId="2126987814"/>
            <ac:picMk id="31750" creationId="{556B0FDD-F349-2925-4A15-93FE5DC8C158}"/>
          </ac:picMkLst>
        </pc:picChg>
        <pc:picChg chg="del">
          <ac:chgData name="Muratidi, Michael V" userId="629c408c-ff96-4929-8e9e-82b40e96f28a" providerId="ADAL" clId="{186090CB-7D20-422D-AABD-7867BF3EACB9}" dt="2023-05-20T06:11:12.872" v="785" actId="478"/>
          <ac:picMkLst>
            <pc:docMk/>
            <pc:sldMk cId="2737395992" sldId="2126987814"/>
            <ac:picMk id="31752" creationId="{84615AE5-68ED-6D19-8112-31C68AFFF9DB}"/>
          </ac:picMkLst>
        </pc:picChg>
        <pc:cxnChg chg="add">
          <ac:chgData name="Muratidi, Michael V" userId="629c408c-ff96-4929-8e9e-82b40e96f28a" providerId="ADAL" clId="{186090CB-7D20-422D-AABD-7867BF3EACB9}" dt="2023-05-20T06:11:14.334" v="786"/>
          <ac:cxnSpMkLst>
            <pc:docMk/>
            <pc:sldMk cId="2737395992" sldId="2126987814"/>
            <ac:cxnSpMk id="16" creationId="{523278E6-801C-42A4-A182-CBA24951B715}"/>
          </ac:cxnSpMkLst>
        </pc:cxnChg>
        <pc:cxnChg chg="add">
          <ac:chgData name="Muratidi, Michael V" userId="629c408c-ff96-4929-8e9e-82b40e96f28a" providerId="ADAL" clId="{186090CB-7D20-422D-AABD-7867BF3EACB9}" dt="2023-05-20T06:11:14.334" v="786"/>
          <ac:cxnSpMkLst>
            <pc:docMk/>
            <pc:sldMk cId="2737395992" sldId="2126987814"/>
            <ac:cxnSpMk id="18" creationId="{AA8E3056-435B-48F9-916E-53BA69AAB812}"/>
          </ac:cxnSpMkLst>
        </pc:cxnChg>
      </pc:sldChg>
      <pc:sldMasterChg chg="delSldLayout">
        <pc:chgData name="Muratidi, Michael V" userId="629c408c-ff96-4929-8e9e-82b40e96f28a" providerId="ADAL" clId="{186090CB-7D20-422D-AABD-7867BF3EACB9}" dt="2023-05-20T06:12:16.759" v="818" actId="2696"/>
        <pc:sldMasterMkLst>
          <pc:docMk/>
          <pc:sldMasterMk cId="2029201059" sldId="2147483672"/>
        </pc:sldMasterMkLst>
      </pc:sldMasterChg>
    </pc:docChg>
  </pc:docChgLst>
  <pc:docChgLst>
    <pc:chgData name="Muratidi, Michael V" userId="629c408c-ff96-4929-8e9e-82b40e96f28a" providerId="ADAL" clId="{D19D2293-3952-4335-90E1-0A6D9DDEFEE5}"/>
    <pc:docChg chg="undo custSel modSld">
      <pc:chgData name="Muratidi, Michael V" userId="629c408c-ff96-4929-8e9e-82b40e96f28a" providerId="ADAL" clId="{D19D2293-3952-4335-90E1-0A6D9DDEFEE5}" dt="2023-05-23T10:10:24.085" v="189" actId="478"/>
      <pc:docMkLst>
        <pc:docMk/>
      </pc:docMkLst>
      <pc:sldChg chg="modSp">
        <pc:chgData name="Muratidi, Michael V" userId="629c408c-ff96-4929-8e9e-82b40e96f28a" providerId="ADAL" clId="{D19D2293-3952-4335-90E1-0A6D9DDEFEE5}" dt="2023-05-23T09:45:38.508" v="115" actId="948"/>
        <pc:sldMkLst>
          <pc:docMk/>
          <pc:sldMk cId="2846088869" sldId="290"/>
        </pc:sldMkLst>
        <pc:spChg chg="mod">
          <ac:chgData name="Muratidi, Michael V" userId="629c408c-ff96-4929-8e9e-82b40e96f28a" providerId="ADAL" clId="{D19D2293-3952-4335-90E1-0A6D9DDEFEE5}" dt="2023-05-23T09:45:38.508" v="115" actId="948"/>
          <ac:spMkLst>
            <pc:docMk/>
            <pc:sldMk cId="2846088869" sldId="290"/>
            <ac:spMk id="8" creationId="{E8D6E8C5-8E66-5A4C-966C-191830348208}"/>
          </ac:spMkLst>
        </pc:spChg>
      </pc:sldChg>
      <pc:sldChg chg="modSp">
        <pc:chgData name="Muratidi, Michael V" userId="629c408c-ff96-4929-8e9e-82b40e96f28a" providerId="ADAL" clId="{D19D2293-3952-4335-90E1-0A6D9DDEFEE5}" dt="2023-05-23T10:05:45.145" v="172" actId="20577"/>
        <pc:sldMkLst>
          <pc:docMk/>
          <pc:sldMk cId="2167099978" sldId="2573"/>
        </pc:sldMkLst>
        <pc:spChg chg="mod">
          <ac:chgData name="Muratidi, Michael V" userId="629c408c-ff96-4929-8e9e-82b40e96f28a" providerId="ADAL" clId="{D19D2293-3952-4335-90E1-0A6D9DDEFEE5}" dt="2023-05-23T10:05:45.145" v="172" actId="20577"/>
          <ac:spMkLst>
            <pc:docMk/>
            <pc:sldMk cId="2167099978" sldId="2573"/>
            <ac:spMk id="16" creationId="{B6323718-B8D4-4A6A-B50C-C953B105BE1D}"/>
          </ac:spMkLst>
        </pc:spChg>
      </pc:sldChg>
      <pc:sldChg chg="modSp">
        <pc:chgData name="Muratidi, Michael V" userId="629c408c-ff96-4929-8e9e-82b40e96f28a" providerId="ADAL" clId="{D19D2293-3952-4335-90E1-0A6D9DDEFEE5}" dt="2023-05-23T10:01:12.399" v="132" actId="20577"/>
        <pc:sldMkLst>
          <pc:docMk/>
          <pc:sldMk cId="1150452625" sldId="2126987781"/>
        </pc:sldMkLst>
        <pc:spChg chg="mod">
          <ac:chgData name="Muratidi, Michael V" userId="629c408c-ff96-4929-8e9e-82b40e96f28a" providerId="ADAL" clId="{D19D2293-3952-4335-90E1-0A6D9DDEFEE5}" dt="2023-05-23T09:51:35.095" v="131" actId="20577"/>
          <ac:spMkLst>
            <pc:docMk/>
            <pc:sldMk cId="1150452625" sldId="2126987781"/>
            <ac:spMk id="3" creationId="{E342E744-5810-EC19-265D-0E9469AD703F}"/>
          </ac:spMkLst>
        </pc:spChg>
        <pc:spChg chg="mod">
          <ac:chgData name="Muratidi, Michael V" userId="629c408c-ff96-4929-8e9e-82b40e96f28a" providerId="ADAL" clId="{D19D2293-3952-4335-90E1-0A6D9DDEFEE5}" dt="2023-05-23T10:01:12.399" v="132" actId="20577"/>
          <ac:spMkLst>
            <pc:docMk/>
            <pc:sldMk cId="1150452625" sldId="2126987781"/>
            <ac:spMk id="4" creationId="{C39C95F8-2D61-FB45-8369-2E290EE5EEBC}"/>
          </ac:spMkLst>
        </pc:spChg>
      </pc:sldChg>
      <pc:sldChg chg="modSp">
        <pc:chgData name="Muratidi, Michael V" userId="629c408c-ff96-4929-8e9e-82b40e96f28a" providerId="ADAL" clId="{D19D2293-3952-4335-90E1-0A6D9DDEFEE5}" dt="2023-05-23T10:02:01.673" v="151" actId="14100"/>
        <pc:sldMkLst>
          <pc:docMk/>
          <pc:sldMk cId="2797939450" sldId="2126987789"/>
        </pc:sldMkLst>
        <pc:spChg chg="mod">
          <ac:chgData name="Muratidi, Michael V" userId="629c408c-ff96-4929-8e9e-82b40e96f28a" providerId="ADAL" clId="{D19D2293-3952-4335-90E1-0A6D9DDEFEE5}" dt="2023-05-23T10:01:53.595" v="149" actId="1076"/>
          <ac:spMkLst>
            <pc:docMk/>
            <pc:sldMk cId="2797939450" sldId="2126987789"/>
            <ac:spMk id="5" creationId="{DE531E70-6F36-8A59-8224-1227914718CF}"/>
          </ac:spMkLst>
        </pc:spChg>
        <pc:spChg chg="mod">
          <ac:chgData name="Muratidi, Michael V" userId="629c408c-ff96-4929-8e9e-82b40e96f28a" providerId="ADAL" clId="{D19D2293-3952-4335-90E1-0A6D9DDEFEE5}" dt="2023-05-23T10:02:01.673" v="151" actId="14100"/>
          <ac:spMkLst>
            <pc:docMk/>
            <pc:sldMk cId="2797939450" sldId="2126987789"/>
            <ac:spMk id="6" creationId="{C37E918B-73C1-AAD3-B42D-ABD8AB9083C6}"/>
          </ac:spMkLst>
        </pc:spChg>
        <pc:spChg chg="mod">
          <ac:chgData name="Muratidi, Michael V" userId="629c408c-ff96-4929-8e9e-82b40e96f28a" providerId="ADAL" clId="{D19D2293-3952-4335-90E1-0A6D9DDEFEE5}" dt="2023-05-23T10:01:40.136" v="146" actId="1037"/>
          <ac:spMkLst>
            <pc:docMk/>
            <pc:sldMk cId="2797939450" sldId="2126987789"/>
            <ac:spMk id="7" creationId="{2EFE4EE6-4886-6679-2C62-9C3309EF0946}"/>
          </ac:spMkLst>
        </pc:spChg>
        <pc:spChg chg="mod">
          <ac:chgData name="Muratidi, Michael V" userId="629c408c-ff96-4929-8e9e-82b40e96f28a" providerId="ADAL" clId="{D19D2293-3952-4335-90E1-0A6D9DDEFEE5}" dt="2023-05-23T10:01:45.936" v="148" actId="14100"/>
          <ac:spMkLst>
            <pc:docMk/>
            <pc:sldMk cId="2797939450" sldId="2126987789"/>
            <ac:spMk id="8" creationId="{C6F18603-B5C0-F498-7EE0-8F288CD92052}"/>
          </ac:spMkLst>
        </pc:spChg>
      </pc:sldChg>
      <pc:sldChg chg="modSp">
        <pc:chgData name="Muratidi, Michael V" userId="629c408c-ff96-4929-8e9e-82b40e96f28a" providerId="ADAL" clId="{D19D2293-3952-4335-90E1-0A6D9DDEFEE5}" dt="2023-05-23T10:07:54.099" v="181" actId="108"/>
        <pc:sldMkLst>
          <pc:docMk/>
          <pc:sldMk cId="2579242364" sldId="2126987798"/>
        </pc:sldMkLst>
        <pc:spChg chg="mod">
          <ac:chgData name="Muratidi, Michael V" userId="629c408c-ff96-4929-8e9e-82b40e96f28a" providerId="ADAL" clId="{D19D2293-3952-4335-90E1-0A6D9DDEFEE5}" dt="2023-05-23T10:07:54.099" v="181" actId="108"/>
          <ac:spMkLst>
            <pc:docMk/>
            <pc:sldMk cId="2579242364" sldId="2126987798"/>
            <ac:spMk id="15" creationId="{E8858649-E1DF-08B9-BB8A-180F06DCB420}"/>
          </ac:spMkLst>
        </pc:spChg>
      </pc:sldChg>
      <pc:sldChg chg="modSp">
        <pc:chgData name="Muratidi, Michael V" userId="629c408c-ff96-4929-8e9e-82b40e96f28a" providerId="ADAL" clId="{D19D2293-3952-4335-90E1-0A6D9DDEFEE5}" dt="2023-05-23T10:07:45.757" v="180" actId="2711"/>
        <pc:sldMkLst>
          <pc:docMk/>
          <pc:sldMk cId="648849813" sldId="2126987808"/>
        </pc:sldMkLst>
        <pc:spChg chg="mod">
          <ac:chgData name="Muratidi, Michael V" userId="629c408c-ff96-4929-8e9e-82b40e96f28a" providerId="ADAL" clId="{D19D2293-3952-4335-90E1-0A6D9DDEFEE5}" dt="2023-05-23T10:07:45.757" v="180" actId="2711"/>
          <ac:spMkLst>
            <pc:docMk/>
            <pc:sldMk cId="648849813" sldId="2126987808"/>
            <ac:spMk id="119" creationId="{4B993C45-7FAA-AF29-E471-D61B6FC6C9FD}"/>
          </ac:spMkLst>
        </pc:spChg>
      </pc:sldChg>
      <pc:sldChg chg="addSp delSp modSp">
        <pc:chgData name="Muratidi, Michael V" userId="629c408c-ff96-4929-8e9e-82b40e96f28a" providerId="ADAL" clId="{D19D2293-3952-4335-90E1-0A6D9DDEFEE5}" dt="2023-05-23T10:10:24.085" v="189" actId="478"/>
        <pc:sldMkLst>
          <pc:docMk/>
          <pc:sldMk cId="2387635779" sldId="2126987812"/>
        </pc:sldMkLst>
        <pc:spChg chg="mod">
          <ac:chgData name="Muratidi, Michael V" userId="629c408c-ff96-4929-8e9e-82b40e96f28a" providerId="ADAL" clId="{D19D2293-3952-4335-90E1-0A6D9DDEFEE5}" dt="2023-05-23T10:08:31.333" v="182" actId="6549"/>
          <ac:spMkLst>
            <pc:docMk/>
            <pc:sldMk cId="2387635779" sldId="2126987812"/>
            <ac:spMk id="1044" creationId="{D8357DB4-53A6-BE81-5D03-A5676322E53D}"/>
          </ac:spMkLst>
        </pc:spChg>
        <pc:spChg chg="mod">
          <ac:chgData name="Muratidi, Michael V" userId="629c408c-ff96-4929-8e9e-82b40e96f28a" providerId="ADAL" clId="{D19D2293-3952-4335-90E1-0A6D9DDEFEE5}" dt="2023-05-23T10:02:27.013" v="152" actId="14100"/>
          <ac:spMkLst>
            <pc:docMk/>
            <pc:sldMk cId="2387635779" sldId="2126987812"/>
            <ac:spMk id="31815" creationId="{0013C6C9-1C2B-B1A6-A073-BAF9A3458646}"/>
          </ac:spMkLst>
        </pc:spChg>
        <pc:spChg chg="mod">
          <ac:chgData name="Muratidi, Michael V" userId="629c408c-ff96-4929-8e9e-82b40e96f28a" providerId="ADAL" clId="{D19D2293-3952-4335-90E1-0A6D9DDEFEE5}" dt="2023-05-23T10:02:30.949" v="158" actId="1036"/>
          <ac:spMkLst>
            <pc:docMk/>
            <pc:sldMk cId="2387635779" sldId="2126987812"/>
            <ac:spMk id="31816" creationId="{E49644A6-CD31-37A0-CD17-04AFC7E78445}"/>
          </ac:spMkLst>
        </pc:spChg>
        <pc:graphicFrameChg chg="del">
          <ac:chgData name="Muratidi, Michael V" userId="629c408c-ff96-4929-8e9e-82b40e96f28a" providerId="ADAL" clId="{D19D2293-3952-4335-90E1-0A6D9DDEFEE5}" dt="2023-05-23T10:10:15.487" v="187" actId="478"/>
          <ac:graphicFrameMkLst>
            <pc:docMk/>
            <pc:sldMk cId="2387635779" sldId="2126987812"/>
            <ac:graphicFrameMk id="9" creationId="{04CC4DFE-F590-9469-176F-0F0C1A02046F}"/>
          </ac:graphicFrameMkLst>
        </pc:graphicFrameChg>
        <pc:picChg chg="del">
          <ac:chgData name="Muratidi, Michael V" userId="629c408c-ff96-4929-8e9e-82b40e96f28a" providerId="ADAL" clId="{D19D2293-3952-4335-90E1-0A6D9DDEFEE5}" dt="2023-05-23T10:10:24.085" v="189" actId="478"/>
          <ac:picMkLst>
            <pc:docMk/>
            <pc:sldMk cId="2387635779" sldId="2126987812"/>
            <ac:picMk id="8" creationId="{551BF0AC-884F-2BEF-4B33-890B409BF56B}"/>
          </ac:picMkLst>
        </pc:picChg>
        <pc:picChg chg="add mod">
          <ac:chgData name="Muratidi, Michael V" userId="629c408c-ff96-4929-8e9e-82b40e96f28a" providerId="ADAL" clId="{D19D2293-3952-4335-90E1-0A6D9DDEFEE5}" dt="2023-05-23T10:10:20.113" v="188" actId="1076"/>
          <ac:picMkLst>
            <pc:docMk/>
            <pc:sldMk cId="2387635779" sldId="2126987812"/>
            <ac:picMk id="10" creationId="{B66FD84E-3D0A-4FE3-BF40-18DB041D0EA5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8280098280098283"/>
          <c:h val="1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70A489"/>
            </a:solidFill>
            <a:ln w="2782"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0D4-43DE-907E-6484F5263FD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0D4-43DE-907E-6484F5263FD7}"/>
              </c:ext>
            </c:extLst>
          </c:dPt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3:$C$3</c:f>
              <c:numCache>
                <c:formatCode>#,##0.00;\-#,##0.00</c:formatCode>
                <c:ptCount val="2"/>
                <c:pt idx="0">
                  <c:v>7.5</c:v>
                </c:pt>
                <c:pt idx="1">
                  <c:v>11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D4-43DE-907E-6484F5263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09955888"/>
        <c:axId val="1709956976"/>
      </c:barChar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FF3700"/>
            </a:solidFill>
            <a:ln w="2782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3700"/>
              </a:solidFill>
              <a:ln w="2782">
                <a:noFill/>
              </a:ln>
            </c:spPr>
            <c:extLst>
              <c:ext xmlns:c16="http://schemas.microsoft.com/office/drawing/2014/chart" uri="{C3380CC4-5D6E-409C-BE32-E72D297353CC}">
                <c16:uniqueId val="{00000004-E0D4-43DE-907E-6484F5263FD7}"/>
              </c:ext>
            </c:extLst>
          </c:dPt>
          <c:dPt>
            <c:idx val="1"/>
            <c:invertIfNegative val="0"/>
            <c:bubble3D val="0"/>
            <c:spPr>
              <a:solidFill>
                <a:srgbClr val="FF3700"/>
              </a:solidFill>
              <a:ln w="2782">
                <a:noFill/>
              </a:ln>
            </c:spPr>
            <c:extLst>
              <c:ext xmlns:c16="http://schemas.microsoft.com/office/drawing/2014/chart" uri="{C3380CC4-5D6E-409C-BE32-E72D297353CC}">
                <c16:uniqueId val="{00000006-E0D4-43DE-907E-6484F5263FD7}"/>
              </c:ext>
            </c:extLst>
          </c:dPt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#,##0.00;\-#,##0.00</c:formatCode>
                <c:ptCount val="2"/>
                <c:pt idx="0">
                  <c:v>0.98</c:v>
                </c:pt>
                <c:pt idx="1">
                  <c:v>0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0D4-43DE-907E-6484F5263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29700879"/>
        <c:axId val="627605807"/>
      </c:barChart>
      <c:catAx>
        <c:axId val="17099558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70995697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709956976"/>
        <c:scaling>
          <c:orientation val="minMax"/>
          <c:max val="12"/>
          <c:min val="0"/>
        </c:scaling>
        <c:delete val="0"/>
        <c:axPos val="l"/>
        <c:numFmt formatCode="#,##0.00;\-#,##0.00" sourceLinked="1"/>
        <c:majorTickMark val="out"/>
        <c:minorTickMark val="none"/>
        <c:tickLblPos val="nextTo"/>
        <c:crossAx val="1709955888"/>
        <c:crosses val="autoZero"/>
        <c:crossBetween val="between"/>
      </c:valAx>
      <c:valAx>
        <c:axId val="627605807"/>
        <c:scaling>
          <c:orientation val="minMax"/>
          <c:max val="4"/>
        </c:scaling>
        <c:delete val="0"/>
        <c:axPos val="r"/>
        <c:numFmt formatCode="#,##0.00;\-#,##0.00" sourceLinked="1"/>
        <c:majorTickMark val="out"/>
        <c:minorTickMark val="none"/>
        <c:tickLblPos val="nextTo"/>
        <c:crossAx val="529700879"/>
        <c:crosses val="max"/>
        <c:crossBetween val="between"/>
      </c:valAx>
      <c:catAx>
        <c:axId val="52970087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27605807"/>
        <c:crosses val="autoZero"/>
        <c:auto val="1"/>
        <c:lblAlgn val="ctr"/>
        <c:lblOffset val="100"/>
        <c:noMultiLvlLbl val="0"/>
      </c:catAx>
      <c:spPr>
        <a:noFill/>
        <a:ln w="278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1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5FB2C-D0D5-49A9-98F1-925E2C0F6A9D}" type="datetimeFigureOut">
              <a:rPr lang="en-GB" smtClean="0"/>
              <a:t>23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C812A-DEDA-4792-8F26-E53EDDBE7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830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62225" y="509588"/>
            <a:ext cx="5689600" cy="3201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A92DB-D675-4FE7-8156-D4E00996CFB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6087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62225" y="509588"/>
            <a:ext cx="5689600" cy="3201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BADFF7-DC6D-45F3-B8EE-D88C91989B22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1323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62225" y="509588"/>
            <a:ext cx="5689600" cy="3201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A92DB-D675-4FE7-8156-D4E00996CFB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2261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62225" y="509588"/>
            <a:ext cx="5689600" cy="3201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A92DB-D675-4FE7-8156-D4E00996CFB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62582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62225" y="509588"/>
            <a:ext cx="5689600" cy="3201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A92DB-D675-4FE7-8156-D4E00996CFB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3910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62225" y="509588"/>
            <a:ext cx="5689600" cy="3201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AA92DB-D675-4FE7-8156-D4E00996CFB0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1450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cid:511E2751-B3E0-4BA6-BFCF-90EB7FA41D09" TargetMode="External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cid:511E2751-B3E0-4BA6-BFCF-90EB7FA41D09" TargetMode="External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cid:511E2751-B3E0-4BA6-BFCF-90EB7FA41D09" TargetMode="External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5030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100" y="270000"/>
            <a:ext cx="8514009" cy="51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0269937-71BB-431E-9FD6-143D300E3E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54D18F0B-AD1B-4280-9391-E43F6EE6E2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F61CD0A1-F5EF-454F-91DF-8A01F4A3E7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F8FFF5C-1BC2-8D4B-85B4-42B048AB0E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39576AB-B6C8-0848-97E2-44017EC4E3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942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11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0C06F53-3CC1-4031-A3A6-25EFE8BFF45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E3679C8-D7F6-42B6-A820-69300FFA830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C89FDE3E-96D4-4AD1-9713-69A9346A80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849DF84-F6E7-4FC4-BE68-958DE9AB19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09E86CD-F177-9C47-B9E0-ED1CACFA1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56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9A679CA-26BE-4AEB-AE86-9549F8207E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D92FE2F2-12F1-48D8-B264-6B2C7808A9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676097A1-4426-4925-8ED0-37212128E6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99720-C445-D94C-A2E8-033061F5E06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C93D6FB-A976-0D42-A7E1-B7FC0FEC77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46ECE55-60D8-1D42-B1F2-A7147B7F66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019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1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99AAB31-0C28-4F5C-8211-6792AD6BAEB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73E5C5B2-229A-4AE8-80AE-98482FD2930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D79415E-1EEA-4ABA-9894-961154D561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261DD9-017C-BC45-B9E9-4A289EB4EE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89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6305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1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373669A0-0EBD-4456-867A-A9328E82891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01D65FF6-D640-4BF1-BF72-8E43AE10D45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EF7406-C576-4848-97C7-AAA7FC1757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C582A0E-9430-634A-9419-DFBA800AEC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A29E133-93B4-2F44-87CD-5B71EE62D0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92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39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D5AA67F-D774-4717-932C-F0B29822B9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FBA5458A-D52A-4182-9D4F-B733461BD03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B4092C3-EE46-4DDC-9B63-41F7B0856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A7F938-8874-D547-8D0E-7CDD13CA79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81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284587B-1CDA-4876-A793-514BF8C6E91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A34C3E2D-DFBD-4199-9925-A48E0A0840B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53F276A-A474-4D15-B610-649F7439CF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49E691-BB78-AD4F-9E18-1D3065F2A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077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C864E540-FF59-4025-8314-E98F695F93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A6C897A3-6BB6-4DE3-A141-15C36C89E8F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1B1DC07-E33B-4ABF-8144-061A2079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988E372-5EE9-7642-AB53-E7282EA4FF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DCA48CE-0CC7-7246-AC4A-F253A445F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0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31D130F5-5749-41B7-83E7-606999E8164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DEA80CA-6343-47F9-8111-C0231C91CB7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B6BF80E-F726-4844-9E12-485EE1B551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5062487-7D01-E446-ABAA-916EA77702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7CC6F3-F341-3943-BBB4-4F6FB87458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89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2828" userDrawn="1">
          <p15:clr>
            <a:srgbClr val="FBAE40"/>
          </p15:clr>
        </p15:guide>
        <p15:guide id="4" orient="horz" pos="59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1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F33A73F-A895-4C94-95A9-FA03D023DC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3854CEC-8BEC-4939-A1B8-8CF31401923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9176665-5609-4739-99EF-C6DD9E6EE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2714CB-08FE-0E43-B4B6-AF59CE0D60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600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51" userDrawn="1">
          <p15:clr>
            <a:srgbClr val="FBAE40"/>
          </p15:clr>
        </p15:guide>
        <p15:guide id="3" orient="horz" pos="583" userDrawn="1">
          <p15:clr>
            <a:srgbClr val="FBAE40"/>
          </p15:clr>
        </p15:guide>
        <p15:guide id="4" orient="horz" pos="265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703CFA7-A538-4501-859A-21256EBD78A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87C43110-7893-4132-8872-7964F9A4CE7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A44342B-3089-4622-91B7-14FDB45E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5E5C279-D9D3-4F4D-A16B-830F2086E5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60D11CD-153A-014B-8473-9D9528003D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91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539" userDrawn="1">
          <p15:clr>
            <a:srgbClr val="FBAE40"/>
          </p15:clr>
        </p15:guide>
        <p15:guide id="4" pos="193" userDrawn="1">
          <p15:clr>
            <a:srgbClr val="FBAE40"/>
          </p15:clr>
        </p15:guide>
        <p15:guide id="5" pos="556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1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1CF5AC5-B762-40BA-8D84-8B53B1913B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19275034-B9ED-4823-909A-12B30A9F76D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88FE6AD-0E6A-4DFF-968C-8FA51A583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CE05C8B-8078-CA41-9702-0441C6AE5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82F237-FB01-4B47-8BC9-C65B951971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52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657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pos="19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6305" y="945356"/>
            <a:ext cx="8531705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0C41700-2D2A-45F9-9EDA-9C15BE259D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F9146766-47FE-4CE2-AE7C-090A18DDE4A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0BDAAD77-6F4E-44AE-B736-747FA11E6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036206-DB40-0946-90A7-F57B72D47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251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657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5991" y="945356"/>
            <a:ext cx="8514160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674" y="270000"/>
            <a:ext cx="8514326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EC811AB3-08A2-42D8-BAD1-10F430F806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101D9CA6-E7A6-4F8E-BCDC-92FD8C517F8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51CFB748-A719-4D85-A6DD-3352DA8AD6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4FCE512-B788-2743-B24C-33F98E72A0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0632BB2-6CFF-5A4D-A38F-68125D8B47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1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657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D34DC55-E80B-49CF-A9E7-E92A3344A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F817B644-46E0-4874-8B2A-29A19663A0D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F727A25-77B3-467E-80AA-72599073E3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FB3978-8071-6A4A-BCD0-E327E9870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044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828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C232D2C-F4B9-45D5-AD68-A4F1841918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6571FD5-A86C-4B93-BC84-347668B986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BBF4B1A-5C5F-4934-A0FE-ABF3029C3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1A61384-CC6B-8D49-862E-AFC7F823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24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7FD265D2-2064-42AD-838B-312D03F08D0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7EE3BA67-9DF6-413F-A0AA-4A4C9D1C000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3BE80059-ABCE-424A-BF38-C05EF8156A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64D043F-8789-0248-A98A-F359DBA723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EF6FA21-336A-F647-B102-51992C59DF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603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4C3CA4E-7F21-304D-9F4A-8B07248A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7F40858-2CD7-FE45-A2F8-0FDCC2F29C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42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44E4E7-45AA-3E4A-95AB-894672A419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6388" y="2242037"/>
            <a:ext cx="4049603" cy="223996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415DFC-9328-B14E-A285-03ABEF15552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70438" y="2242036"/>
            <a:ext cx="4049712" cy="22399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90044A0-A316-E247-A000-7A157FEF2E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7099E3C-EACD-DE47-9BC7-99AC4CB611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971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F3E35-7BAC-4DAC-BF73-B39646774A9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E0521D8-6A60-4405-94E6-87B45B43D5A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F3790A2-3ED4-476F-AF15-FF864ED22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1B33D0-BDFD-A646-8606-99083F58B0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155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0D8D745-A917-4544-B52C-C167B938FC8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8736158-736B-4C99-AE3E-5DE67DF6BB4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B403315-6CB3-4D1B-932F-9111D4E0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7EA66CC-1E16-FA43-950B-42C28BA0C1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1501E54-557F-9B4F-AA23-CC2DB54C46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166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56400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13FA47A-9E60-7C45-BAC1-5BB4D7BFA8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881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7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845" userDrawn="1">
          <p15:clr>
            <a:srgbClr val="FBAE40"/>
          </p15:clr>
        </p15:guide>
        <p15:guide id="4" pos="19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C919A1E-AF03-4E65-AB90-7B16340F5A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93099D-53F9-451B-BF59-BB728B4000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CD7FB87-9E67-43F8-AAED-2A70B2777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0018B4-4626-1A4B-9344-746CC8AD38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125F03B-012D-5B4A-BC3C-5084689584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623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164309"/>
            <a:ext cx="8233996" cy="5941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Рисунок 3" descr="cid:511E2751-B3E0-4BA6-BFCF-90EB7FA41D09"/>
          <p:cNvPicPr/>
          <p:nvPr userDrawn="1"/>
        </p:nvPicPr>
        <p:blipFill rotWithShape="1">
          <a:blip r:embed="rId6" r:link="rId8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2180" b="66634" l="13068" r="7009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410" t="31526" r="28988" b="32884"/>
          <a:stretch>
            <a:fillRect/>
          </a:stretch>
        </p:blipFill>
        <p:spPr bwMode="auto">
          <a:xfrm>
            <a:off x="733" y="0"/>
            <a:ext cx="669043" cy="4366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69591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164309"/>
            <a:ext cx="8233996" cy="5941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Рисунок 3" descr="cid:511E2751-B3E0-4BA6-BFCF-90EB7FA41D09"/>
          <p:cNvPicPr/>
          <p:nvPr userDrawn="1"/>
        </p:nvPicPr>
        <p:blipFill rotWithShape="1">
          <a:blip r:embed="rId6" r:link="rId8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2180" b="66634" l="13068" r="7009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410" t="31526" r="28988" b="32884"/>
          <a:stretch>
            <a:fillRect/>
          </a:stretch>
        </p:blipFill>
        <p:spPr bwMode="auto">
          <a:xfrm>
            <a:off x="733" y="0"/>
            <a:ext cx="669043" cy="4366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34345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164309"/>
            <a:ext cx="8233996" cy="5941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Рисунок 3" descr="cid:511E2751-B3E0-4BA6-BFCF-90EB7FA41D09"/>
          <p:cNvPicPr/>
          <p:nvPr userDrawn="1"/>
        </p:nvPicPr>
        <p:blipFill rotWithShape="1">
          <a:blip r:embed="rId6" r:link="rId8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2180" b="66634" l="13068" r="7009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410" t="31526" r="28988" b="32884"/>
          <a:stretch>
            <a:fillRect/>
          </a:stretch>
        </p:blipFill>
        <p:spPr bwMode="auto">
          <a:xfrm>
            <a:off x="733" y="0"/>
            <a:ext cx="669043" cy="4366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93803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6538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958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56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79A5DEB5-22C5-476C-A468-B2DD9C35F64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21EBDCD7-77A5-4BC7-96F7-DED46AF71ED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3504EB2-1848-44C8-9FAD-B72B04C0D8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4DC2FC-5160-BB48-8152-2941FC5777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615AB5E-0C86-BB44-A5E2-E04F5E251F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91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845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B63F7A3-D2B3-45F4-BD1B-57C8EA14999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8AC47872-D543-4BEF-BA7A-CB53103BE82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EE9AE11-EE74-483E-A73A-9C916D29CA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1DA9F3-AC85-6A4E-BE52-E8DB76395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04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3AAC17B3-09B8-46B1-86DA-C442998FCF4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E7CD3C6-BAEE-46A0-B9A3-D5C64251D7A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243F8BA-4DDF-4B73-ADD4-92881531B2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AC1E16F-74C5-F849-A8D3-197AB6710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1748EB0-AF6A-954E-80B0-F1F7430201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A8CD73C-7723-E14B-85A6-38A5D5288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71BFF13-D877-F74E-A5B0-A85CEE173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80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539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8F719EB-2A7D-4C10-A9AD-0BBE86E0A48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A2E85CE-3AE3-4AA3-A5BD-94D69F59F7A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37F3403-5329-4785-8644-DEA2BBBC78A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896D6C5-1818-EE46-BC2E-2EB5D51952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39C7963-93F6-3C4E-8554-C1DB9E01C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D853B77-D0ED-5E42-8937-A010E9A28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3406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AAAA88FF-220D-4AB3-8B0B-A6CD876FFE5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FF182B43-455B-4FEE-A520-1F6EAE41101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D5B65EE-5102-41C9-B44A-138C2047366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CAD367-C7CD-7F4E-8AE4-1B9579E3A2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77D866E-2E81-AB4C-9A05-F09D4751D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9EF25C3-C469-4A4F-8D0F-1D7FB7AEA8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521330D-F5C7-554D-8E32-F75B8231D9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36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9B239F7-4580-4877-A474-73AB5A8C1A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2198827-0937-46D7-814E-35835DBBB39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F4DA6BB4-B5F8-4CFD-A8CC-C91F91FD6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3/05/2023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982340-1903-2B4A-9E4E-2021DF377C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738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8"/>
            </p:custDataLst>
          </p:nvPr>
        </p:nvGraphicFramePr>
        <p:xfrm>
          <a:off x="161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9" imgW="360" imgH="360" progId="">
                  <p:embed/>
                </p:oleObj>
              </mc:Choice>
              <mc:Fallback>
                <p:oleObj name="think-cell Slide" r:id="rId3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5991" y="27000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5991" y="945000"/>
            <a:ext cx="8514009" cy="35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5991" y="4751461"/>
            <a:ext cx="1296000" cy="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450" smtClean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/>
              <a:t>Page </a:t>
            </a:r>
            <a:fld id="{72A704F9-61CA-4770-B270-3EB3A3A14010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5E89B35-29B3-DC47-93BE-21746182294B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201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41" r:id="rId2"/>
    <p:sldLayoutId id="2147483742" r:id="rId3"/>
    <p:sldLayoutId id="2147483743" r:id="rId4"/>
    <p:sldLayoutId id="2147483676" r:id="rId5"/>
    <p:sldLayoutId id="2147483744" r:id="rId6"/>
    <p:sldLayoutId id="2147483733" r:id="rId7"/>
    <p:sldLayoutId id="2147483745" r:id="rId8"/>
    <p:sldLayoutId id="2147483738" r:id="rId9"/>
    <p:sldLayoutId id="2147483750" r:id="rId10"/>
    <p:sldLayoutId id="2147483756" r:id="rId11"/>
    <p:sldLayoutId id="2147483757" r:id="rId12"/>
    <p:sldLayoutId id="2147483740" r:id="rId13"/>
    <p:sldLayoutId id="2147483751" r:id="rId14"/>
    <p:sldLayoutId id="2147483734" r:id="rId15"/>
    <p:sldLayoutId id="2147483735" r:id="rId16"/>
    <p:sldLayoutId id="2147483752" r:id="rId17"/>
    <p:sldLayoutId id="2147483753" r:id="rId18"/>
    <p:sldLayoutId id="2147483739" r:id="rId19"/>
    <p:sldLayoutId id="2147483747" r:id="rId20"/>
    <p:sldLayoutId id="2147483746" r:id="rId21"/>
    <p:sldLayoutId id="2147483748" r:id="rId22"/>
    <p:sldLayoutId id="2147483736" r:id="rId23"/>
    <p:sldLayoutId id="2147483737" r:id="rId24"/>
    <p:sldLayoutId id="2147483754" r:id="rId25"/>
    <p:sldLayoutId id="2147483755" r:id="rId26"/>
    <p:sldLayoutId id="2147483758" r:id="rId27"/>
    <p:sldLayoutId id="2147483678" r:id="rId28"/>
    <p:sldLayoutId id="2147483749" r:id="rId29"/>
    <p:sldLayoutId id="2147483679" r:id="rId30"/>
    <p:sldLayoutId id="2147483759" r:id="rId31"/>
    <p:sldLayoutId id="2147483761" r:id="rId32"/>
    <p:sldLayoutId id="2147483763" r:id="rId33"/>
    <p:sldLayoutId id="2147483766" r:id="rId34"/>
    <p:sldLayoutId id="2147483768" r:id="rId3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 i="0" baseline="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86300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405000" indent="-203597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607219" indent="-19883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810816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014413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3573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6pPr>
      <a:lvl7pPr marL="17002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7pPr>
      <a:lvl8pPr marL="20431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8pPr>
      <a:lvl9pPr marL="23860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5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6.xml"/><Relationship Id="rId6" Type="http://schemas.openxmlformats.org/officeDocument/2006/relationships/image" Target="../media/image12.svg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0" Type="http://schemas.openxmlformats.org/officeDocument/2006/relationships/image" Target="../media/image15.png"/><Relationship Id="rId4" Type="http://schemas.openxmlformats.org/officeDocument/2006/relationships/image" Target="../media/image10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microsoft.com/office/2007/relationships/hdphoto" Target="../media/hdphoto4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5.xml"/><Relationship Id="rId7" Type="http://schemas.microsoft.com/office/2007/relationships/hdphoto" Target="../media/hdphoto5.wdp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7.png"/><Relationship Id="rId4" Type="http://schemas.openxmlformats.org/officeDocument/2006/relationships/image" Target="../media/image22.jpe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34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chart" Target="../charts/chart1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7.jpeg"/><Relationship Id="rId3" Type="http://schemas.microsoft.com/office/2007/relationships/hdphoto" Target="../media/hdphoto6.wdp"/><Relationship Id="rId7" Type="http://schemas.openxmlformats.org/officeDocument/2006/relationships/image" Target="../media/image31.jpeg"/><Relationship Id="rId12" Type="http://schemas.openxmlformats.org/officeDocument/2006/relationships/image" Target="../media/image36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jpeg"/><Relationship Id="rId11" Type="http://schemas.openxmlformats.org/officeDocument/2006/relationships/image" Target="../media/image35.jpeg"/><Relationship Id="rId5" Type="http://schemas.openxmlformats.org/officeDocument/2006/relationships/image" Target="../media/image29.jpeg"/><Relationship Id="rId10" Type="http://schemas.openxmlformats.org/officeDocument/2006/relationships/image" Target="../media/image34.jpeg"/><Relationship Id="rId4" Type="http://schemas.openxmlformats.org/officeDocument/2006/relationships/image" Target="../media/image28.jpeg"/><Relationship Id="rId9" Type="http://schemas.openxmlformats.org/officeDocument/2006/relationships/image" Target="../media/image3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F20C7FC-9830-AB47-A020-F7D213DE91C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5010" y="939428"/>
            <a:ext cx="6958990" cy="4204072"/>
          </a:xfrm>
          <a:custGeom>
            <a:avLst/>
            <a:gdLst>
              <a:gd name="connsiteX0" fmla="*/ 4836706 w 6958990"/>
              <a:gd name="connsiteY0" fmla="*/ 0 h 4204072"/>
              <a:gd name="connsiteX1" fmla="*/ 5105370 w 6958990"/>
              <a:gd name="connsiteY1" fmla="*/ 5401 h 4204072"/>
              <a:gd name="connsiteX2" fmla="*/ 6506079 w 6958990"/>
              <a:gd name="connsiteY2" fmla="*/ 215559 h 4204072"/>
              <a:gd name="connsiteX3" fmla="*/ 6958990 w 6958990"/>
              <a:gd name="connsiteY3" fmla="*/ 344984 h 4204072"/>
              <a:gd name="connsiteX4" fmla="*/ 6958990 w 6958990"/>
              <a:gd name="connsiteY4" fmla="*/ 4204072 h 4204072"/>
              <a:gd name="connsiteX5" fmla="*/ 0 w 6958990"/>
              <a:gd name="connsiteY5" fmla="*/ 4204072 h 4204072"/>
              <a:gd name="connsiteX6" fmla="*/ 946497 w 6958990"/>
              <a:gd name="connsiteY6" fmla="*/ 1813869 h 4204072"/>
              <a:gd name="connsiteX7" fmla="*/ 4836706 w 6958990"/>
              <a:gd name="connsiteY7" fmla="*/ 0 h 4204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58990" h="4204072">
                <a:moveTo>
                  <a:pt x="4836706" y="0"/>
                </a:moveTo>
                <a:cubicBezTo>
                  <a:pt x="4927033" y="0"/>
                  <a:pt x="5015815" y="2315"/>
                  <a:pt x="5105370" y="5401"/>
                </a:cubicBezTo>
                <a:cubicBezTo>
                  <a:pt x="5582478" y="25653"/>
                  <a:pt x="6048296" y="99286"/>
                  <a:pt x="6506079" y="215559"/>
                </a:cubicBezTo>
                <a:lnTo>
                  <a:pt x="6958990" y="344984"/>
                </a:lnTo>
                <a:lnTo>
                  <a:pt x="6958990" y="4204072"/>
                </a:lnTo>
                <a:lnTo>
                  <a:pt x="0" y="4204072"/>
                </a:lnTo>
                <a:cubicBezTo>
                  <a:pt x="176021" y="3241973"/>
                  <a:pt x="497181" y="2444982"/>
                  <a:pt x="946497" y="1813869"/>
                </a:cubicBezTo>
                <a:cubicBezTo>
                  <a:pt x="1808843" y="603337"/>
                  <a:pt x="3144438" y="0"/>
                  <a:pt x="4836706" y="0"/>
                </a:cubicBezTo>
                <a:close/>
              </a:path>
            </a:pathLst>
          </a:custGeom>
        </p:spPr>
      </p:pic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3F876C65-1369-EC4A-818D-4C84756387B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88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611961" cy="5143500"/>
          </a:xfrm>
          <a:prstGeom prst="rect">
            <a:avLst/>
          </a:prstGeom>
        </p:spPr>
      </p:pic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191F0443-F0B7-B94A-913E-32B69E83021B}"/>
              </a:ext>
            </a:extLst>
          </p:cNvPr>
          <p:cNvSpPr txBox="1">
            <a:spLocks/>
          </p:cNvSpPr>
          <p:nvPr/>
        </p:nvSpPr>
        <p:spPr>
          <a:xfrm>
            <a:off x="258557" y="140365"/>
            <a:ext cx="5942414" cy="26115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явление и расследование потенциально серьезных травм или смертельных случаев, как превентивный инструмент в области ОТ</a:t>
            </a: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E8D6E8C5-8E66-5A4C-966C-191830348208}"/>
              </a:ext>
            </a:extLst>
          </p:cNvPr>
          <p:cNvSpPr txBox="1">
            <a:spLocks/>
          </p:cNvSpPr>
          <p:nvPr/>
        </p:nvSpPr>
        <p:spPr>
          <a:xfrm>
            <a:off x="258557" y="1151887"/>
            <a:ext cx="4103581" cy="4169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"/>
              </a:spcBef>
              <a:buNone/>
            </a:pPr>
            <a:r>
              <a:rPr lang="ru-RU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ратиди Михаил Владимирович</a:t>
            </a:r>
          </a:p>
          <a:p>
            <a:pPr marL="0" indent="0">
              <a:spcBef>
                <a:spcPts val="200"/>
              </a:spcBef>
              <a:buNone/>
            </a:pPr>
            <a:r>
              <a:rPr lang="ru-RU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ститель директора Управления по охране труда и техники безопасности</a:t>
            </a:r>
          </a:p>
          <a:p>
            <a:pPr marL="0" indent="0">
              <a:spcBef>
                <a:spcPts val="200"/>
              </a:spcBef>
              <a:buNone/>
            </a:pPr>
            <a:r>
              <a:rPr lang="ru-RU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гольный департамент, АО «АрселорМиттал Темиртау»</a:t>
            </a:r>
          </a:p>
          <a:p>
            <a:pPr marL="0" indent="0">
              <a:spcBef>
                <a:spcPts val="200"/>
              </a:spcBef>
              <a:buNone/>
            </a:pPr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 </a:t>
            </a:r>
            <a:r>
              <a:rPr lang="ru-RU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я </a:t>
            </a:r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</a:t>
            </a:r>
            <a:r>
              <a:rPr lang="ru-RU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3F30AA8-2B58-254C-9B9C-D6CE041F935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28677" y="-1979"/>
            <a:ext cx="1656766" cy="86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088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hape&#10;&#10;Description automatically generated with low confidence">
            <a:extLst>
              <a:ext uri="{FF2B5EF4-FFF2-40B4-BE49-F238E27FC236}">
                <a16:creationId xmlns:a16="http://schemas.microsoft.com/office/drawing/2014/main" id="{7873EC48-4E26-E317-17E5-B3D94375CF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1960"/>
            <a:ext cx="3614057" cy="511154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342E744-5810-EC19-265D-0E9469AD703F}"/>
              </a:ext>
            </a:extLst>
          </p:cNvPr>
          <p:cNvSpPr txBox="1"/>
          <p:nvPr/>
        </p:nvSpPr>
        <p:spPr>
          <a:xfrm>
            <a:off x="48739" y="1585691"/>
            <a:ext cx="2609744" cy="3162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7"/>
            <a:r>
              <a:rPr lang="ru-RU" sz="1800" dirty="0">
                <a:solidFill>
                  <a:prstClr val="white"/>
                </a:solidFill>
                <a:latin typeface="Gilroy" panose="00000500000000000000" pitchFamily="50" charset="0"/>
              </a:rPr>
              <a:t>Основная концепция </a:t>
            </a:r>
          </a:p>
          <a:p>
            <a:pPr defTabSz="685817"/>
            <a:endParaRPr lang="en-US" sz="1351" dirty="0">
              <a:solidFill>
                <a:prstClr val="white"/>
              </a:solidFill>
              <a:latin typeface="Gilroy" panose="00000500000000000000" pitchFamily="50" charset="0"/>
            </a:endParaRPr>
          </a:p>
          <a:p>
            <a:pPr defTabSz="685817"/>
            <a:r>
              <a:rPr lang="ru-RU" sz="2100" dirty="0">
                <a:solidFill>
                  <a:prstClr val="white"/>
                </a:solidFill>
                <a:latin typeface="Gilroy" panose="00000500000000000000" pitchFamily="50" charset="0"/>
              </a:rPr>
              <a:t>Предвестники серьезных травм и смертельных исходов, как правило, коренным образом отличаются от предвестников легких травм.</a:t>
            </a:r>
          </a:p>
        </p:txBody>
      </p:sp>
      <p:grpSp>
        <p:nvGrpSpPr>
          <p:cNvPr id="42" name="Group 6">
            <a:extLst>
              <a:ext uri="{FF2B5EF4-FFF2-40B4-BE49-F238E27FC236}">
                <a16:creationId xmlns:a16="http://schemas.microsoft.com/office/drawing/2014/main" id="{7BEF7803-0332-E11E-4320-0C628C12E549}"/>
              </a:ext>
            </a:extLst>
          </p:cNvPr>
          <p:cNvGrpSpPr/>
          <p:nvPr/>
        </p:nvGrpSpPr>
        <p:grpSpPr>
          <a:xfrm>
            <a:off x="4688707" y="640080"/>
            <a:ext cx="3412796" cy="3479517"/>
            <a:chOff x="11887200" y="1257997"/>
            <a:chExt cx="4067032" cy="4160164"/>
          </a:xfrm>
        </p:grpSpPr>
        <p:sp>
          <p:nvSpPr>
            <p:cNvPr id="43" name="Isosceles Triangle 1">
              <a:extLst>
                <a:ext uri="{FF2B5EF4-FFF2-40B4-BE49-F238E27FC236}">
                  <a16:creationId xmlns:a16="http://schemas.microsoft.com/office/drawing/2014/main" id="{1253BB67-8AFF-7656-7DD1-37AF9AF19082}"/>
                </a:ext>
              </a:extLst>
            </p:cNvPr>
            <p:cNvSpPr/>
            <p:nvPr/>
          </p:nvSpPr>
          <p:spPr>
            <a:xfrm>
              <a:off x="11887200" y="1265957"/>
              <a:ext cx="4067032" cy="4152204"/>
            </a:xfrm>
            <a:prstGeom prst="triangle">
              <a:avLst/>
            </a:prstGeom>
            <a:gradFill flip="none" rotWithShape="1">
              <a:gsLst>
                <a:gs pos="0">
                  <a:srgbClr val="00B050"/>
                </a:gs>
                <a:gs pos="48000">
                  <a:srgbClr val="FFC000"/>
                </a:gs>
                <a:gs pos="100000">
                  <a:srgbClr val="FF0000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17"/>
              <a:endParaRPr lang="en-US" sz="135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4" name="Isosceles Triangle 3">
              <a:extLst>
                <a:ext uri="{FF2B5EF4-FFF2-40B4-BE49-F238E27FC236}">
                  <a16:creationId xmlns:a16="http://schemas.microsoft.com/office/drawing/2014/main" id="{4EEF2F92-5188-BFFF-2DE8-963B0677A18C}"/>
                </a:ext>
              </a:extLst>
            </p:cNvPr>
            <p:cNvSpPr/>
            <p:nvPr/>
          </p:nvSpPr>
          <p:spPr>
            <a:xfrm>
              <a:off x="13497634" y="1367324"/>
              <a:ext cx="847584" cy="4050837"/>
            </a:xfrm>
            <a:prstGeom prst="triangle">
              <a:avLst/>
            </a:prstGeom>
            <a:solidFill>
              <a:schemeClr val="bg2">
                <a:lumMod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17"/>
              <a:endParaRPr lang="en-US" sz="135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2" name="Isosceles Triangle 4">
              <a:extLst>
                <a:ext uri="{FF2B5EF4-FFF2-40B4-BE49-F238E27FC236}">
                  <a16:creationId xmlns:a16="http://schemas.microsoft.com/office/drawing/2014/main" id="{97263945-292D-0B74-F534-09F06584DAC6}"/>
                </a:ext>
              </a:extLst>
            </p:cNvPr>
            <p:cNvSpPr/>
            <p:nvPr/>
          </p:nvSpPr>
          <p:spPr>
            <a:xfrm>
              <a:off x="13790944" y="1257997"/>
              <a:ext cx="264304" cy="258340"/>
            </a:xfrm>
            <a:prstGeom prst="triangle">
              <a:avLst/>
            </a:prstGeom>
            <a:solidFill>
              <a:srgbClr val="001C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17"/>
              <a:endParaRPr lang="en-US" sz="135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3" name="TextBox 5">
              <a:extLst>
                <a:ext uri="{FF2B5EF4-FFF2-40B4-BE49-F238E27FC236}">
                  <a16:creationId xmlns:a16="http://schemas.microsoft.com/office/drawing/2014/main" id="{43810D26-45D6-524E-9D02-AB1DE8526E6C}"/>
                </a:ext>
              </a:extLst>
            </p:cNvPr>
            <p:cNvSpPr txBox="1"/>
            <p:nvPr/>
          </p:nvSpPr>
          <p:spPr>
            <a:xfrm>
              <a:off x="12719713" y="3639603"/>
              <a:ext cx="2402005" cy="9974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817"/>
              <a:r>
                <a:rPr lang="ru-RU" sz="1800" dirty="0">
                  <a:solidFill>
                    <a:prstClr val="white"/>
                  </a:solidFill>
                  <a:latin typeface="Gilroy" panose="00000500000000000000" pitchFamily="50" charset="0"/>
                </a:rPr>
                <a:t>2</a:t>
              </a:r>
              <a:r>
                <a:rPr lang="en-US" sz="1800" dirty="0">
                  <a:solidFill>
                    <a:prstClr val="white"/>
                  </a:solidFill>
                  <a:latin typeface="Gilroy" panose="00000500000000000000" pitchFamily="50" charset="0"/>
                </a:rPr>
                <a:t>0</a:t>
              </a:r>
              <a:r>
                <a:rPr lang="ru-RU" sz="1800" dirty="0">
                  <a:solidFill>
                    <a:prstClr val="white"/>
                  </a:solidFill>
                  <a:latin typeface="Gilroy" panose="00000500000000000000" pitchFamily="50" charset="0"/>
                </a:rPr>
                <a:t>%</a:t>
              </a:r>
            </a:p>
            <a:p>
              <a:pPr algn="ctr" defTabSz="685817"/>
              <a:r>
                <a:rPr lang="ru-RU" sz="1013" dirty="0">
                  <a:solidFill>
                    <a:prstClr val="white"/>
                  </a:solidFill>
                  <a:latin typeface="Gilroy" panose="00000500000000000000" pitchFamily="50" charset="0"/>
                </a:rPr>
                <a:t>Потенциально</a:t>
              </a:r>
            </a:p>
            <a:p>
              <a:pPr algn="ctr" defTabSz="685817"/>
              <a:r>
                <a:rPr lang="ru-RU" sz="1013" dirty="0">
                  <a:solidFill>
                    <a:prstClr val="white"/>
                  </a:solidFill>
                  <a:latin typeface="Gilroy" panose="00000500000000000000" pitchFamily="50" charset="0"/>
                </a:rPr>
                <a:t>серьезные травмы и смертельные случаи</a:t>
              </a:r>
            </a:p>
          </p:txBody>
        </p:sp>
      </p:grpSp>
      <p:sp>
        <p:nvSpPr>
          <p:cNvPr id="4" name="ZoneTexte 3">
            <a:extLst>
              <a:ext uri="{FF2B5EF4-FFF2-40B4-BE49-F238E27FC236}">
                <a16:creationId xmlns:a16="http://schemas.microsoft.com/office/drawing/2014/main" id="{C39C95F8-2D61-FB45-8369-2E290EE5EEBC}"/>
              </a:ext>
            </a:extLst>
          </p:cNvPr>
          <p:cNvSpPr txBox="1"/>
          <p:nvPr/>
        </p:nvSpPr>
        <p:spPr>
          <a:xfrm>
            <a:off x="3580136" y="4188210"/>
            <a:ext cx="48593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17"/>
            <a:r>
              <a:rPr lang="ru-RU" sz="1800" dirty="0">
                <a:solidFill>
                  <a:prstClr val="black"/>
                </a:solidFill>
                <a:latin typeface="Calibri" panose="020F0502020204030204"/>
              </a:rPr>
              <a:t>Необходимо сосредоточиться на быстром искоренении потенциально серьезных травм и смертельных случаев (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ru-RU" sz="1800" dirty="0">
                <a:solidFill>
                  <a:prstClr val="black"/>
                </a:solidFill>
                <a:latin typeface="Calibri" panose="020F0502020204030204"/>
              </a:rPr>
              <a:t>SIF) в первую очередь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B59967-1F54-4D44-AF44-688CB954E4FE}"/>
              </a:ext>
            </a:extLst>
          </p:cNvPr>
          <p:cNvSpPr txBox="1"/>
          <p:nvPr/>
        </p:nvSpPr>
        <p:spPr bwMode="auto">
          <a:xfrm>
            <a:off x="6040081" y="640080"/>
            <a:ext cx="2492620" cy="54694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77" dirty="0">
                <a:solidFill>
                  <a:srgbClr val="FF0000"/>
                </a:solidFill>
                <a:ea typeface="ＭＳ Ｐゴシック" pitchFamily="-115" charset="-128"/>
              </a:rPr>
              <a:t>Смертельные</a:t>
            </a:r>
          </a:p>
          <a:p>
            <a:pPr algn="ctr">
              <a:defRPr/>
            </a:pPr>
            <a:r>
              <a:rPr lang="ru-RU" sz="1477" dirty="0">
                <a:solidFill>
                  <a:srgbClr val="FF0000"/>
                </a:solidFill>
                <a:ea typeface="ＭＳ Ｐゴシック" pitchFamily="-115" charset="-128"/>
              </a:rPr>
              <a:t> случаи</a:t>
            </a:r>
            <a:endParaRPr lang="en-US" sz="1477" dirty="0">
              <a:solidFill>
                <a:srgbClr val="FF0000"/>
              </a:solidFill>
              <a:ea typeface="ＭＳ Ｐゴシック" pitchFamily="-115" charset="-12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D623CB-F9C3-4675-A2AC-66C7F3872D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9851" y="1309138"/>
            <a:ext cx="1787682" cy="774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/>
            <a:r>
              <a:rPr lang="ru-RU" altLang="en-US" sz="1477" dirty="0">
                <a:solidFill>
                  <a:srgbClr val="FF3700"/>
                </a:solidFill>
                <a:latin typeface="+mn-lt"/>
              </a:rPr>
              <a:t>Несчастные </a:t>
            </a:r>
          </a:p>
          <a:p>
            <a:pPr algn="ctr"/>
            <a:r>
              <a:rPr lang="ru-RU" altLang="en-US" sz="1477" dirty="0">
                <a:solidFill>
                  <a:srgbClr val="FF3700"/>
                </a:solidFill>
                <a:latin typeface="+mn-lt"/>
              </a:rPr>
              <a:t>случаи с потерей трудоспособности</a:t>
            </a:r>
            <a:endParaRPr lang="en-US" altLang="en-US" sz="1477" dirty="0">
              <a:solidFill>
                <a:srgbClr val="FF3700"/>
              </a:solidFill>
              <a:latin typeface="+mn-lt"/>
            </a:endParaRPr>
          </a:p>
        </p:txBody>
      </p:sp>
      <p:sp>
        <p:nvSpPr>
          <p:cNvPr id="13" name="TextBox 9">
            <a:extLst>
              <a:ext uri="{FF2B5EF4-FFF2-40B4-BE49-F238E27FC236}">
                <a16:creationId xmlns:a16="http://schemas.microsoft.com/office/drawing/2014/main" id="{2FD3D603-890E-4E2C-BD70-31D6867881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49919" y="3678614"/>
            <a:ext cx="979199" cy="319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/>
            <a:r>
              <a:rPr lang="ru-RU" altLang="en-US" sz="1477" dirty="0">
                <a:solidFill>
                  <a:srgbClr val="00B050"/>
                </a:solidFill>
                <a:latin typeface="+mn-lt"/>
              </a:rPr>
              <a:t>ОС и ОД</a:t>
            </a:r>
            <a:endParaRPr lang="en-US" altLang="en-US" sz="1477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14" name="TextBox 10">
            <a:extLst>
              <a:ext uri="{FF2B5EF4-FFF2-40B4-BE49-F238E27FC236}">
                <a16:creationId xmlns:a16="http://schemas.microsoft.com/office/drawing/2014/main" id="{BA259499-4996-4155-8B98-9A81ADD7D9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12043" y="2819722"/>
            <a:ext cx="1516671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/>
            <a:r>
              <a:rPr lang="ru-RU" altLang="en-US" sz="1477" dirty="0">
                <a:solidFill>
                  <a:srgbClr val="FFC000"/>
                </a:solidFill>
                <a:latin typeface="+mn-lt"/>
              </a:rPr>
              <a:t>Угрозы</a:t>
            </a:r>
          </a:p>
          <a:p>
            <a:pPr algn="ctr"/>
            <a:r>
              <a:rPr lang="ru-RU" altLang="en-US" sz="1477" dirty="0">
                <a:solidFill>
                  <a:srgbClr val="FFC000"/>
                </a:solidFill>
                <a:latin typeface="+mn-lt"/>
              </a:rPr>
              <a:t> происшествия</a:t>
            </a:r>
            <a:endParaRPr lang="en-US" altLang="en-US" sz="1477" dirty="0">
              <a:solidFill>
                <a:srgbClr val="FFC000"/>
              </a:solidFill>
              <a:latin typeface="+mn-lt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2C7E36DC-07D3-4EE8-9834-2A6803B933A1}"/>
              </a:ext>
            </a:extLst>
          </p:cNvPr>
          <p:cNvCxnSpPr>
            <a:cxnSpLocks/>
          </p:cNvCxnSpPr>
          <p:nvPr/>
        </p:nvCxnSpPr>
        <p:spPr bwMode="auto">
          <a:xfrm>
            <a:off x="5120640" y="2383167"/>
            <a:ext cx="2377440" cy="0"/>
          </a:xfrm>
          <a:prstGeom prst="line">
            <a:avLst/>
          </a:prstGeom>
          <a:noFill/>
          <a:ln w="38100" cap="flat" cmpd="sng" algn="ctr">
            <a:solidFill>
              <a:srgbClr val="0070C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Box 9">
            <a:extLst>
              <a:ext uri="{FF2B5EF4-FFF2-40B4-BE49-F238E27FC236}">
                <a16:creationId xmlns:a16="http://schemas.microsoft.com/office/drawing/2014/main" id="{BCDD9955-D710-4D4A-A1F5-073F6C947982}"/>
              </a:ext>
            </a:extLst>
          </p:cNvPr>
          <p:cNvSpPr txBox="1">
            <a:spLocks noChangeArrowheads="1"/>
          </p:cNvSpPr>
          <p:nvPr/>
        </p:nvSpPr>
        <p:spPr bwMode="auto">
          <a:xfrm rot="17865406">
            <a:off x="4085528" y="2930435"/>
            <a:ext cx="1554926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/>
            <a:r>
              <a:rPr lang="ru-RU" altLang="en-US" sz="1477" dirty="0" err="1">
                <a:solidFill>
                  <a:srgbClr val="00B050"/>
                </a:solidFill>
                <a:latin typeface="+mn-lt"/>
              </a:rPr>
              <a:t>Проактивный</a:t>
            </a:r>
            <a:endParaRPr lang="ru-RU" altLang="en-US" sz="1477" dirty="0">
              <a:solidFill>
                <a:srgbClr val="00B050"/>
              </a:solidFill>
              <a:latin typeface="+mn-lt"/>
            </a:endParaRPr>
          </a:p>
          <a:p>
            <a:pPr algn="ctr"/>
            <a:r>
              <a:rPr lang="ru-RU" altLang="en-US" sz="1477" dirty="0">
                <a:solidFill>
                  <a:srgbClr val="00B050"/>
                </a:solidFill>
                <a:latin typeface="+mn-lt"/>
              </a:rPr>
              <a:t>случаи</a:t>
            </a:r>
            <a:endParaRPr lang="en-US" altLang="en-US" sz="1477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4C3C1128-8135-4019-99E9-E5DFFE796140}"/>
              </a:ext>
            </a:extLst>
          </p:cNvPr>
          <p:cNvSpPr txBox="1">
            <a:spLocks noChangeArrowheads="1"/>
          </p:cNvSpPr>
          <p:nvPr/>
        </p:nvSpPr>
        <p:spPr bwMode="auto">
          <a:xfrm rot="17865406">
            <a:off x="5002704" y="1240226"/>
            <a:ext cx="1385680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/>
            <a:r>
              <a:rPr lang="ru-RU" altLang="en-US" sz="1477" dirty="0">
                <a:solidFill>
                  <a:srgbClr val="FF0000"/>
                </a:solidFill>
                <a:latin typeface="+mn-lt"/>
              </a:rPr>
              <a:t>Реактивные</a:t>
            </a:r>
          </a:p>
          <a:p>
            <a:pPr algn="ctr"/>
            <a:r>
              <a:rPr lang="ru-RU" altLang="en-US" sz="1477" dirty="0">
                <a:solidFill>
                  <a:srgbClr val="FF0000"/>
                </a:solidFill>
                <a:latin typeface="+mn-lt"/>
              </a:rPr>
              <a:t>случаи</a:t>
            </a:r>
            <a:endParaRPr lang="en-US" altLang="en-US" sz="1477" dirty="0">
              <a:solidFill>
                <a:srgbClr val="FF0000"/>
              </a:solidFill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04526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>
            <a:extLst>
              <a:ext uri="{FF2B5EF4-FFF2-40B4-BE49-F238E27FC236}">
                <a16:creationId xmlns:a16="http://schemas.microsoft.com/office/drawing/2014/main" id="{F3831C5F-3CAE-4C19-A1D5-44E4320399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19246" y="860201"/>
            <a:ext cx="3233214" cy="1060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542925" indent="-293688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809625" indent="-265113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081088" indent="-269875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1352550" indent="-269875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18097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69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41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813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spcBef>
                <a:spcPct val="10000"/>
              </a:spcBef>
              <a:buNone/>
            </a:pPr>
            <a:r>
              <a:rPr lang="ru-RU" altLang="en-US" sz="1400" kern="0" dirty="0">
                <a:solidFill>
                  <a:srgbClr val="00B050"/>
                </a:solidFill>
              </a:rPr>
              <a:t>ПРОАКТИВНЫЕ СЛУЧАИ</a:t>
            </a:r>
          </a:p>
          <a:p>
            <a:pPr marL="0" indent="0" eaLnBrk="1" hangingPunct="1">
              <a:spcBef>
                <a:spcPct val="10000"/>
              </a:spcBef>
              <a:buNone/>
            </a:pPr>
            <a:r>
              <a:rPr lang="ru-RU" sz="1400" dirty="0">
                <a:solidFill>
                  <a:srgbClr val="000000"/>
                </a:solidFill>
              </a:rPr>
              <a:t>Угроза происшествия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ru-RU" sz="1400" dirty="0">
                <a:solidFill>
                  <a:srgbClr val="000000"/>
                </a:solidFill>
              </a:rPr>
              <a:t>Опасное действия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ru-RU" sz="1400" dirty="0">
                <a:solidFill>
                  <a:srgbClr val="000000"/>
                </a:solidFill>
              </a:rPr>
              <a:t>Опасная ситуация</a:t>
            </a:r>
            <a:endParaRPr lang="ru-RU" sz="1400" kern="0" dirty="0">
              <a:solidFill>
                <a:srgbClr val="FF0000"/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347175A3-7246-4625-B1CD-42A25B3EEC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1342" y="237353"/>
            <a:ext cx="1246607" cy="1245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ubtitle 2">
            <a:extLst>
              <a:ext uri="{FF2B5EF4-FFF2-40B4-BE49-F238E27FC236}">
                <a16:creationId xmlns:a16="http://schemas.microsoft.com/office/drawing/2014/main" id="{02F2E318-FAFA-4B51-89F2-5B5B209CC354}"/>
              </a:ext>
            </a:extLst>
          </p:cNvPr>
          <p:cNvSpPr txBox="1">
            <a:spLocks/>
          </p:cNvSpPr>
          <p:nvPr/>
        </p:nvSpPr>
        <p:spPr>
          <a:xfrm>
            <a:off x="208353" y="837029"/>
            <a:ext cx="4363647" cy="1903679"/>
          </a:xfrm>
          <a:prstGeom prst="rect">
            <a:avLst/>
          </a:prstGeom>
        </p:spPr>
        <p:txBody>
          <a:bodyPr vert="horz" lIns="84407" tIns="42203" rIns="84407" bIns="42203" rtlCol="0">
            <a:normAutofit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10000"/>
              </a:spcBef>
              <a:buClr>
                <a:schemeClr val="tx2"/>
              </a:buClr>
            </a:pPr>
            <a:r>
              <a:rPr lang="ru-RU" sz="1400" dirty="0">
                <a:solidFill>
                  <a:srgbClr val="FF0000"/>
                </a:solidFill>
              </a:rPr>
              <a:t>РЕАКТИВНЫЕ СЛУЧАИ </a:t>
            </a:r>
          </a:p>
          <a:p>
            <a:pPr algn="l">
              <a:spcBef>
                <a:spcPct val="10000"/>
              </a:spcBef>
              <a:buClr>
                <a:schemeClr val="tx2"/>
              </a:buClr>
            </a:pPr>
            <a:r>
              <a:rPr lang="ru-RU" sz="1400" dirty="0">
                <a:solidFill>
                  <a:srgbClr val="000000"/>
                </a:solidFill>
                <a:ea typeface="MS PGothic" panose="020B0600070205080204" pitchFamily="34" charset="-128"/>
              </a:rPr>
              <a:t>Это события, действия или ситуации, последствия которой угрожают жизни или приводят к утрате трудоспособности или потере функций.</a:t>
            </a:r>
            <a:r>
              <a:rPr lang="en-US" sz="1400" dirty="0">
                <a:solidFill>
                  <a:srgbClr val="000000"/>
                </a:solidFill>
                <a:ea typeface="MS PGothic" panose="020B0600070205080204" pitchFamily="34" charset="-128"/>
              </a:rPr>
              <a:t> </a:t>
            </a:r>
          </a:p>
          <a:p>
            <a:pPr algn="l">
              <a:spcBef>
                <a:spcPct val="10000"/>
              </a:spcBef>
              <a:buClr>
                <a:schemeClr val="tx2"/>
              </a:buClr>
            </a:pPr>
            <a:r>
              <a:rPr lang="en-US" sz="1400" dirty="0">
                <a:solidFill>
                  <a:srgbClr val="000000"/>
                </a:solidFill>
                <a:ea typeface="MS PGothic" panose="020B0600070205080204" pitchFamily="34" charset="-128"/>
              </a:rPr>
              <a:t>(</a:t>
            </a:r>
            <a:r>
              <a:rPr lang="ru-RU" sz="1400" dirty="0">
                <a:solidFill>
                  <a:srgbClr val="000000"/>
                </a:solidFill>
                <a:ea typeface="MS PGothic" panose="020B0600070205080204" pitchFamily="34" charset="-128"/>
              </a:rPr>
              <a:t>перевод на легкий труда, несчастный случай с ограничением постоянной или временной трудоспособности</a:t>
            </a:r>
            <a:r>
              <a:rPr lang="en-US" sz="1400" dirty="0">
                <a:solidFill>
                  <a:srgbClr val="000000"/>
                </a:solidFill>
                <a:ea typeface="MS PGothic" panose="020B0600070205080204" pitchFamily="34" charset="-128"/>
              </a:rPr>
              <a:t>,</a:t>
            </a:r>
            <a:r>
              <a:rPr lang="ru-RU" sz="1400" dirty="0">
                <a:solidFill>
                  <a:srgbClr val="000000"/>
                </a:solidFill>
                <a:ea typeface="MS PGothic" panose="020B0600070205080204" pitchFamily="34" charset="-128"/>
              </a:rPr>
              <a:t> инвалидности или</a:t>
            </a:r>
            <a:r>
              <a:rPr lang="en-US" sz="1400" dirty="0">
                <a:solidFill>
                  <a:srgbClr val="000000"/>
                </a:solidFill>
                <a:ea typeface="MS PGothic" panose="020B0600070205080204" pitchFamily="34" charset="-128"/>
              </a:rPr>
              <a:t> </a:t>
            </a:r>
            <a:r>
              <a:rPr lang="ru-RU" sz="1400" dirty="0">
                <a:solidFill>
                  <a:srgbClr val="000000"/>
                </a:solidFill>
                <a:ea typeface="MS PGothic" panose="020B0600070205080204" pitchFamily="34" charset="-128"/>
              </a:rPr>
              <a:t>смертельный случай</a:t>
            </a:r>
            <a:r>
              <a:rPr lang="en-US" sz="1400" dirty="0">
                <a:solidFill>
                  <a:srgbClr val="000000"/>
                </a:solidFill>
                <a:ea typeface="MS PGothic" panose="020B0600070205080204" pitchFamily="34" charset="-128"/>
              </a:rPr>
              <a:t>)</a:t>
            </a:r>
          </a:p>
          <a:p>
            <a:pPr algn="l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B6323718-B8D4-4A6A-B50C-C953B105BE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500" y="3268847"/>
            <a:ext cx="7299960" cy="1635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542925" indent="-293688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809625" indent="-265113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081088" indent="-269875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1352550" indent="-269875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18097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69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41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813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hangingPunct="1">
              <a:spcBef>
                <a:spcPct val="10000"/>
              </a:spcBef>
              <a:buNone/>
            </a:pPr>
            <a:r>
              <a:rPr lang="ru-RU" altLang="en-US" sz="1400" kern="0" dirty="0">
                <a:solidFill>
                  <a:srgbClr val="0070C0"/>
                </a:solidFill>
              </a:rPr>
              <a:t>Потенциально серьезные травмы или смертельные случаи</a:t>
            </a:r>
            <a:r>
              <a:rPr lang="en-US" altLang="en-US" sz="1400" kern="0" dirty="0">
                <a:solidFill>
                  <a:srgbClr val="0070C0"/>
                </a:solidFill>
              </a:rPr>
              <a:t> </a:t>
            </a:r>
            <a:r>
              <a:rPr lang="ru-RU" altLang="en-US" sz="1400" kern="0" dirty="0">
                <a:solidFill>
                  <a:srgbClr val="0070C0"/>
                </a:solidFill>
              </a:rPr>
              <a:t>(</a:t>
            </a:r>
            <a:r>
              <a:rPr lang="en-US" altLang="en-US" sz="1400" kern="0" dirty="0">
                <a:solidFill>
                  <a:srgbClr val="0070C0"/>
                </a:solidFill>
              </a:rPr>
              <a:t>PSIF)</a:t>
            </a:r>
          </a:p>
          <a:p>
            <a:pPr marL="0" indent="0" algn="ctr" eaLnBrk="1" hangingPunct="1">
              <a:spcBef>
                <a:spcPct val="10000"/>
              </a:spcBef>
              <a:buNone/>
            </a:pPr>
            <a:r>
              <a:rPr lang="ru-RU" altLang="en-US" sz="1400" kern="0" dirty="0">
                <a:solidFill>
                  <a:srgbClr val="000000"/>
                </a:solidFill>
              </a:rPr>
              <a:t>Любое действие, ситуация, инцидент и событие, которые потенциально могут привести к риску серьезного или смертельного несчастного случая, причинившего вред одному или нескольким лицам и требующего немедленного реагирования</a:t>
            </a:r>
            <a:r>
              <a:rPr lang="en-US" altLang="en-US" sz="1400" kern="0" dirty="0">
                <a:solidFill>
                  <a:srgbClr val="00000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67099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C62D428-6E8A-77F7-E531-C1E1CBA2AFC4}"/>
              </a:ext>
            </a:extLst>
          </p:cNvPr>
          <p:cNvSpPr txBox="1"/>
          <p:nvPr/>
        </p:nvSpPr>
        <p:spPr>
          <a:xfrm>
            <a:off x="1396305" y="1069997"/>
            <a:ext cx="3857212" cy="3243647"/>
          </a:xfrm>
          <a:prstGeom prst="rect">
            <a:avLst/>
          </a:prstGeom>
          <a:noFill/>
        </p:spPr>
        <p:txBody>
          <a:bodyPr wrap="square" lIns="68580" tIns="34291" rIns="68580" bIns="34291" anchor="t">
            <a:spAutoFit/>
          </a:bodyPr>
          <a:lstStyle/>
          <a:p>
            <a:pPr marL="600090" lvl="1" indent="-257181" defTabSz="685817">
              <a:lnSpc>
                <a:spcPct val="300000"/>
              </a:lnSpc>
              <a:buFont typeface="+mj-lt"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садина, мелкий порез, ...</a:t>
            </a:r>
          </a:p>
          <a:p>
            <a:pPr marL="600090" lvl="1" indent="-257181" defTabSz="685817">
              <a:lnSpc>
                <a:spcPct val="300000"/>
              </a:lnSpc>
              <a:buFont typeface="+mj-lt"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ременная нетрудоспособность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00090" lvl="1" indent="-257181" defTabSz="685817">
              <a:buFont typeface="+mj-lt"/>
              <a:buAutoNum type="arabicPeriod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00090" lvl="1" indent="-257181" defTabSz="685817">
              <a:buFont typeface="+mj-lt"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Arial"/>
                <a:ea typeface="Times New Roman" panose="02020603050405020304" pitchFamily="18" charset="0"/>
                <a:cs typeface="Arial"/>
              </a:rPr>
              <a:t>Легкая, но постоянная инвалидность, ведущая к ограничению жизнедеятельности </a:t>
            </a:r>
            <a:endParaRPr lang="en-US" sz="1200" dirty="0">
              <a:solidFill>
                <a:prstClr val="black"/>
              </a:solidFill>
              <a:latin typeface="Arial"/>
              <a:ea typeface="Times New Roman" panose="02020603050405020304" pitchFamily="18" charset="0"/>
              <a:cs typeface="Arial"/>
            </a:endParaRPr>
          </a:p>
          <a:p>
            <a:pPr marL="600090" lvl="1" indent="-257181" defTabSz="685817">
              <a:buFont typeface="+mj-lt"/>
              <a:buAutoNum type="arabicPeriod"/>
            </a:pPr>
            <a:endParaRPr lang="ru-RU" sz="1200" dirty="0">
              <a:solidFill>
                <a:prstClr val="black"/>
              </a:solidFill>
              <a:latin typeface="Arial"/>
              <a:ea typeface="Times New Roman" panose="02020603050405020304" pitchFamily="18" charset="0"/>
              <a:cs typeface="Arial"/>
            </a:endParaRPr>
          </a:p>
          <a:p>
            <a:pPr marL="600090" lvl="1" indent="-257181" defTabSz="685817">
              <a:buFont typeface="+mj-lt"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яжелая инвалидность, ведущая к ограничению жизнедеятельности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00090" lvl="1" indent="-257181" defTabSz="685817">
              <a:buFont typeface="+mj-lt"/>
              <a:buAutoNum type="arabicPeriod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00090" lvl="1" indent="-257181" defTabSz="685817">
              <a:lnSpc>
                <a:spcPct val="150000"/>
              </a:lnSpc>
              <a:buFont typeface="+mj-lt"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ертельный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лучай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600090" lvl="1" indent="-257181" defTabSz="685817">
              <a:lnSpc>
                <a:spcPct val="200000"/>
              </a:lnSpc>
              <a:buFont typeface="+mj-lt"/>
              <a:buAutoNum type="arabicPeriod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упповой смертельный случай</a:t>
            </a:r>
          </a:p>
        </p:txBody>
      </p:sp>
      <p:pic>
        <p:nvPicPr>
          <p:cNvPr id="6" name="Picture 2" descr="Dead Svg Png Icon Free Download (#491435) - OnlineWebFonts.COM">
            <a:extLst>
              <a:ext uri="{FF2B5EF4-FFF2-40B4-BE49-F238E27FC236}">
                <a16:creationId xmlns:a16="http://schemas.microsoft.com/office/drawing/2014/main" id="{1372B234-3317-E51D-70BB-07ED2258C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962" y="3607609"/>
            <a:ext cx="281969" cy="346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phic 9" descr="Person in wheelchair with solid fill">
            <a:extLst>
              <a:ext uri="{FF2B5EF4-FFF2-40B4-BE49-F238E27FC236}">
                <a16:creationId xmlns:a16="http://schemas.microsoft.com/office/drawing/2014/main" id="{0AAFA93D-3E31-0C9E-11B5-B5B7EE9D25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150332" y="2925567"/>
            <a:ext cx="588000" cy="560635"/>
          </a:xfrm>
          <a:prstGeom prst="rect">
            <a:avLst/>
          </a:prstGeom>
        </p:spPr>
      </p:pic>
      <p:pic>
        <p:nvPicPr>
          <p:cNvPr id="31748" name="Picture 4" descr="Broken leg - Free healthcare and medical icons">
            <a:extLst>
              <a:ext uri="{FF2B5EF4-FFF2-40B4-BE49-F238E27FC236}">
                <a16:creationId xmlns:a16="http://schemas.microsoft.com/office/drawing/2014/main" id="{35BE7332-707A-3C74-C70C-5AB5AF77C9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34" y="1753334"/>
            <a:ext cx="457740" cy="457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0" name="Picture 6" descr="Cut Finger Icon - Free PNG &amp; SVG 40918 - Noun Project">
            <a:extLst>
              <a:ext uri="{FF2B5EF4-FFF2-40B4-BE49-F238E27FC236}">
                <a16:creationId xmlns:a16="http://schemas.microsoft.com/office/drawing/2014/main" id="{556B0FDD-F349-2925-4A15-93FE5DC8C1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13" y="2180908"/>
            <a:ext cx="560096" cy="560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 descr="Cut, finger, first aid, plaster, wound, wounds icon - Download on Iconfinder">
            <a:extLst>
              <a:ext uri="{FF2B5EF4-FFF2-40B4-BE49-F238E27FC236}">
                <a16:creationId xmlns:a16="http://schemas.microsoft.com/office/drawing/2014/main" id="{84615AE5-68ED-6D19-8112-31C68AFFF9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472" y="1214300"/>
            <a:ext cx="457740" cy="457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8858649-E1DF-08B9-BB8A-180F06DCB420}"/>
              </a:ext>
            </a:extLst>
          </p:cNvPr>
          <p:cNvSpPr txBox="1"/>
          <p:nvPr/>
        </p:nvSpPr>
        <p:spPr>
          <a:xfrm>
            <a:off x="489072" y="141872"/>
            <a:ext cx="81658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800" dirty="0">
                <a:solidFill>
                  <a:prstClr val="black"/>
                </a:solidFill>
              </a:rPr>
              <a:t>Уровни вероятной степени тяжести исхода</a:t>
            </a:r>
          </a:p>
        </p:txBody>
      </p:sp>
      <p:sp>
        <p:nvSpPr>
          <p:cNvPr id="21" name="Right Brace 20">
            <a:extLst>
              <a:ext uri="{FF2B5EF4-FFF2-40B4-BE49-F238E27FC236}">
                <a16:creationId xmlns:a16="http://schemas.microsoft.com/office/drawing/2014/main" id="{915FDCB7-15D7-0D4F-1986-5759EB765AB0}"/>
              </a:ext>
            </a:extLst>
          </p:cNvPr>
          <p:cNvSpPr/>
          <p:nvPr/>
        </p:nvSpPr>
        <p:spPr>
          <a:xfrm>
            <a:off x="5145359" y="2971800"/>
            <a:ext cx="259859" cy="1397258"/>
          </a:xfrm>
          <a:prstGeom prst="rightBrac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CF06F69-002A-24B0-6EC7-AA79A8125796}"/>
              </a:ext>
            </a:extLst>
          </p:cNvPr>
          <p:cNvSpPr txBox="1"/>
          <p:nvPr/>
        </p:nvSpPr>
        <p:spPr>
          <a:xfrm>
            <a:off x="5391761" y="3316709"/>
            <a:ext cx="24548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800" dirty="0">
                <a:solidFill>
                  <a:srgbClr val="FF0000"/>
                </a:solidFill>
                <a:latin typeface="Gilroy" panose="00000500000000000000" pitchFamily="50" charset="0"/>
              </a:rPr>
              <a:t>Серьезные травмы и смертельные случаи</a:t>
            </a:r>
          </a:p>
        </p:txBody>
      </p:sp>
      <p:pic>
        <p:nvPicPr>
          <p:cNvPr id="2" name="Picture 2" descr="Dead Svg Png Icon Free Download (#491435) - OnlineWebFonts.COM">
            <a:extLst>
              <a:ext uri="{FF2B5EF4-FFF2-40B4-BE49-F238E27FC236}">
                <a16:creationId xmlns:a16="http://schemas.microsoft.com/office/drawing/2014/main" id="{377D7AF1-20BD-66EF-A23B-88CC132CBE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0661" y="4030571"/>
            <a:ext cx="281969" cy="346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Dead Svg Png Icon Free Download (#491435) - OnlineWebFonts.COM">
            <a:extLst>
              <a:ext uri="{FF2B5EF4-FFF2-40B4-BE49-F238E27FC236}">
                <a16:creationId xmlns:a16="http://schemas.microsoft.com/office/drawing/2014/main" id="{DB489A54-A25B-7868-763F-1481D5F55C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74" y="4030571"/>
            <a:ext cx="281969" cy="346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813B2957-49DE-149E-957D-5A67FC15384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6470" y="2969272"/>
            <a:ext cx="418391" cy="4476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792423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itre 118">
            <a:extLst>
              <a:ext uri="{FF2B5EF4-FFF2-40B4-BE49-F238E27FC236}">
                <a16:creationId xmlns:a16="http://schemas.microsoft.com/office/drawing/2014/main" id="{4B993C45-7FAA-AF29-E471-D61B6FC6C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651" y="185660"/>
            <a:ext cx="7886700" cy="417232"/>
          </a:xfrm>
        </p:spPr>
        <p:txBody>
          <a:bodyPr>
            <a:normAutofit/>
          </a:bodyPr>
          <a:lstStyle/>
          <a:p>
            <a:r>
              <a:rPr lang="ru-RU" sz="1800" b="0" kern="120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Древа принятия решений по PSIF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1F7F258-5F43-A4C5-4FD8-02EBF7308FA8}"/>
              </a:ext>
            </a:extLst>
          </p:cNvPr>
          <p:cNvSpPr txBox="1"/>
          <p:nvPr/>
        </p:nvSpPr>
        <p:spPr>
          <a:xfrm>
            <a:off x="621463" y="1151994"/>
            <a:ext cx="2002059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17"/>
            <a:r>
              <a:rPr lang="ru-RU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  <a:t>Реальный SIF (реальная степень тяжести ≥ 4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B5FD78A-5A5B-7C65-7F88-7E6D0794CE16}"/>
              </a:ext>
            </a:extLst>
          </p:cNvPr>
          <p:cNvSpPr txBox="1"/>
          <p:nvPr/>
        </p:nvSpPr>
        <p:spPr>
          <a:xfrm>
            <a:off x="2465040" y="1828867"/>
            <a:ext cx="3852908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17"/>
            <a:r>
              <a:rPr lang="ru-RU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  <a:t>Представьте, что это событие повторяется 50 раз. Будет ли наихудший исход, который можно ожидать хотя бы один раз, со степенью серьезности ≥ 4? 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6AE040A0-CC8B-4F8E-A6FD-7970B003A3D9}"/>
              </a:ext>
            </a:extLst>
          </p:cNvPr>
          <p:cNvSpPr txBox="1"/>
          <p:nvPr/>
        </p:nvSpPr>
        <p:spPr>
          <a:xfrm>
            <a:off x="6989327" y="1234563"/>
            <a:ext cx="598487" cy="30021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17"/>
            <a:r>
              <a:rPr lang="ru-RU" sz="1351">
                <a:solidFill>
                  <a:prstClr val="white"/>
                </a:solidFill>
                <a:latin typeface="Calibri" panose="020F0502020204030204"/>
              </a:rPr>
              <a:t>PSIF</a:t>
            </a:r>
          </a:p>
        </p:txBody>
      </p:sp>
      <p:cxnSp>
        <p:nvCxnSpPr>
          <p:cNvPr id="60" name="Connecteur : en angle 59">
            <a:extLst>
              <a:ext uri="{FF2B5EF4-FFF2-40B4-BE49-F238E27FC236}">
                <a16:creationId xmlns:a16="http://schemas.microsoft.com/office/drawing/2014/main" id="{BE14E285-DB3A-EF7C-39F7-BC4A69BA978A}"/>
              </a:ext>
            </a:extLst>
          </p:cNvPr>
          <p:cNvCxnSpPr>
            <a:cxnSpLocks/>
            <a:stCxn id="9" idx="2"/>
            <a:endCxn id="11" idx="1"/>
          </p:cNvCxnSpPr>
          <p:nvPr/>
        </p:nvCxnSpPr>
        <p:spPr>
          <a:xfrm rot="16200000" flipH="1">
            <a:off x="1774579" y="1461572"/>
            <a:ext cx="538374" cy="84254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 : en angle 63">
            <a:extLst>
              <a:ext uri="{FF2B5EF4-FFF2-40B4-BE49-F238E27FC236}">
                <a16:creationId xmlns:a16="http://schemas.microsoft.com/office/drawing/2014/main" id="{C4F22FEC-34D0-8B37-6F39-4AA95E6AE01B}"/>
              </a:ext>
            </a:extLst>
          </p:cNvPr>
          <p:cNvCxnSpPr>
            <a:cxnSpLocks/>
            <a:stCxn id="11" idx="3"/>
            <a:endCxn id="40" idx="1"/>
          </p:cNvCxnSpPr>
          <p:nvPr/>
        </p:nvCxnSpPr>
        <p:spPr>
          <a:xfrm flipV="1">
            <a:off x="6317948" y="1384668"/>
            <a:ext cx="671379" cy="76736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ZoneTexte 69">
            <a:extLst>
              <a:ext uri="{FF2B5EF4-FFF2-40B4-BE49-F238E27FC236}">
                <a16:creationId xmlns:a16="http://schemas.microsoft.com/office/drawing/2014/main" id="{C4999C9B-1AF8-624A-40E5-5A3FC729606F}"/>
              </a:ext>
            </a:extLst>
          </p:cNvPr>
          <p:cNvSpPr txBox="1"/>
          <p:nvPr/>
        </p:nvSpPr>
        <p:spPr>
          <a:xfrm>
            <a:off x="6989327" y="2577275"/>
            <a:ext cx="914020" cy="3002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17"/>
            <a:r>
              <a:rPr lang="ru-RU" sz="1351">
                <a:solidFill>
                  <a:prstClr val="black"/>
                </a:solidFill>
                <a:latin typeface="Calibri" panose="020F0502020204030204"/>
              </a:rPr>
              <a:t>Не PSIF</a:t>
            </a:r>
          </a:p>
        </p:txBody>
      </p:sp>
      <p:cxnSp>
        <p:nvCxnSpPr>
          <p:cNvPr id="80" name="Connecteur droit avec flèche 79">
            <a:extLst>
              <a:ext uri="{FF2B5EF4-FFF2-40B4-BE49-F238E27FC236}">
                <a16:creationId xmlns:a16="http://schemas.microsoft.com/office/drawing/2014/main" id="{B6E7D26D-631D-DCF8-3210-50A70E87DC0F}"/>
              </a:ext>
            </a:extLst>
          </p:cNvPr>
          <p:cNvCxnSpPr>
            <a:cxnSpLocks/>
            <a:stCxn id="9" idx="3"/>
            <a:endCxn id="40" idx="1"/>
          </p:cNvCxnSpPr>
          <p:nvPr/>
        </p:nvCxnSpPr>
        <p:spPr>
          <a:xfrm>
            <a:off x="2623522" y="1382827"/>
            <a:ext cx="4365805" cy="184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necteur : en angle 109">
            <a:extLst>
              <a:ext uri="{FF2B5EF4-FFF2-40B4-BE49-F238E27FC236}">
                <a16:creationId xmlns:a16="http://schemas.microsoft.com/office/drawing/2014/main" id="{A8DA51C3-D7C5-7599-131C-B6A0B1628093}"/>
              </a:ext>
            </a:extLst>
          </p:cNvPr>
          <p:cNvCxnSpPr>
            <a:cxnSpLocks/>
            <a:stCxn id="11" idx="2"/>
            <a:endCxn id="70" idx="1"/>
          </p:cNvCxnSpPr>
          <p:nvPr/>
        </p:nvCxnSpPr>
        <p:spPr>
          <a:xfrm rot="16200000" flipH="1">
            <a:off x="5564319" y="1302372"/>
            <a:ext cx="252182" cy="259783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ZoneTexte 114">
            <a:extLst>
              <a:ext uri="{FF2B5EF4-FFF2-40B4-BE49-F238E27FC236}">
                <a16:creationId xmlns:a16="http://schemas.microsoft.com/office/drawing/2014/main" id="{71EFA4E3-FADA-5317-A746-7257C3801E89}"/>
              </a:ext>
            </a:extLst>
          </p:cNvPr>
          <p:cNvSpPr txBox="1"/>
          <p:nvPr/>
        </p:nvSpPr>
        <p:spPr>
          <a:xfrm>
            <a:off x="2726347" y="1120151"/>
            <a:ext cx="392837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7"/>
            <a:r>
              <a:rPr lang="ru-RU" sz="1351" dirty="0">
                <a:solidFill>
                  <a:srgbClr val="FF0000"/>
                </a:solidFill>
                <a:latin typeface="Calibri" panose="020F0502020204030204"/>
              </a:rPr>
              <a:t>да</a:t>
            </a:r>
          </a:p>
        </p:txBody>
      </p:sp>
      <p:sp>
        <p:nvSpPr>
          <p:cNvPr id="116" name="ZoneTexte 115">
            <a:extLst>
              <a:ext uri="{FF2B5EF4-FFF2-40B4-BE49-F238E27FC236}">
                <a16:creationId xmlns:a16="http://schemas.microsoft.com/office/drawing/2014/main" id="{ED748336-90E5-6A4B-CC77-D81F582BDB2E}"/>
              </a:ext>
            </a:extLst>
          </p:cNvPr>
          <p:cNvSpPr txBox="1"/>
          <p:nvPr/>
        </p:nvSpPr>
        <p:spPr>
          <a:xfrm>
            <a:off x="6282813" y="1828867"/>
            <a:ext cx="392837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7"/>
            <a:r>
              <a:rPr lang="ru-RU" sz="1351" dirty="0">
                <a:solidFill>
                  <a:srgbClr val="FF0000"/>
                </a:solidFill>
                <a:latin typeface="Calibri" panose="020F0502020204030204"/>
              </a:rPr>
              <a:t>да</a:t>
            </a:r>
          </a:p>
        </p:txBody>
      </p:sp>
      <p:sp>
        <p:nvSpPr>
          <p:cNvPr id="117" name="ZoneTexte 116">
            <a:extLst>
              <a:ext uri="{FF2B5EF4-FFF2-40B4-BE49-F238E27FC236}">
                <a16:creationId xmlns:a16="http://schemas.microsoft.com/office/drawing/2014/main" id="{B6F82581-6C9F-7A5A-0554-B6B62D18EFF5}"/>
              </a:ext>
            </a:extLst>
          </p:cNvPr>
          <p:cNvSpPr txBox="1"/>
          <p:nvPr/>
        </p:nvSpPr>
        <p:spPr>
          <a:xfrm>
            <a:off x="4422944" y="2443373"/>
            <a:ext cx="531205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7"/>
            <a:r>
              <a:rPr lang="ru-RU" sz="1351" dirty="0">
                <a:solidFill>
                  <a:srgbClr val="00B050"/>
                </a:solidFill>
                <a:latin typeface="Calibri" panose="020F0502020204030204"/>
              </a:rPr>
              <a:t>нет</a:t>
            </a:r>
          </a:p>
        </p:txBody>
      </p:sp>
      <p:sp>
        <p:nvSpPr>
          <p:cNvPr id="118" name="ZoneTexte 117">
            <a:extLst>
              <a:ext uri="{FF2B5EF4-FFF2-40B4-BE49-F238E27FC236}">
                <a16:creationId xmlns:a16="http://schemas.microsoft.com/office/drawing/2014/main" id="{CF542633-C335-E631-2879-FF37547A13A0}"/>
              </a:ext>
            </a:extLst>
          </p:cNvPr>
          <p:cNvSpPr txBox="1"/>
          <p:nvPr/>
        </p:nvSpPr>
        <p:spPr>
          <a:xfrm>
            <a:off x="1650929" y="1722152"/>
            <a:ext cx="500434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7"/>
            <a:r>
              <a:rPr lang="ru-RU" sz="1351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  <a:t>нет</a:t>
            </a:r>
          </a:p>
        </p:txBody>
      </p:sp>
      <p:sp>
        <p:nvSpPr>
          <p:cNvPr id="130" name="ZoneTexte 129">
            <a:extLst>
              <a:ext uri="{FF2B5EF4-FFF2-40B4-BE49-F238E27FC236}">
                <a16:creationId xmlns:a16="http://schemas.microsoft.com/office/drawing/2014/main" id="{CEAA91FA-7FC9-7E49-A54A-34D08A69C20F}"/>
              </a:ext>
            </a:extLst>
          </p:cNvPr>
          <p:cNvSpPr txBox="1"/>
          <p:nvPr/>
        </p:nvSpPr>
        <p:spPr>
          <a:xfrm>
            <a:off x="611093" y="3576007"/>
            <a:ext cx="3852908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17"/>
            <a:r>
              <a:rPr lang="ru-RU" sz="120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/>
              </a:rPr>
              <a:t>Какие барьеры у нас есть, чтобы предотвратить превращение этого опасного действия или ситуации в событие с наихудшим потенциальным исходом со степенью серьезности ≥ 4?</a:t>
            </a:r>
          </a:p>
        </p:txBody>
      </p:sp>
      <p:sp>
        <p:nvSpPr>
          <p:cNvPr id="131" name="ZoneTexte 130">
            <a:extLst>
              <a:ext uri="{FF2B5EF4-FFF2-40B4-BE49-F238E27FC236}">
                <a16:creationId xmlns:a16="http://schemas.microsoft.com/office/drawing/2014/main" id="{D949A59A-DEA1-888F-792A-60D51182979F}"/>
              </a:ext>
            </a:extLst>
          </p:cNvPr>
          <p:cNvSpPr txBox="1"/>
          <p:nvPr/>
        </p:nvSpPr>
        <p:spPr>
          <a:xfrm>
            <a:off x="6989326" y="3844567"/>
            <a:ext cx="598487" cy="300210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17"/>
            <a:r>
              <a:rPr lang="ru-RU" sz="1351">
                <a:solidFill>
                  <a:prstClr val="white"/>
                </a:solidFill>
                <a:latin typeface="Calibri" panose="020F0502020204030204"/>
              </a:rPr>
              <a:t>PSIF</a:t>
            </a:r>
          </a:p>
        </p:txBody>
      </p:sp>
      <p:sp>
        <p:nvSpPr>
          <p:cNvPr id="134" name="ZoneTexte 133">
            <a:extLst>
              <a:ext uri="{FF2B5EF4-FFF2-40B4-BE49-F238E27FC236}">
                <a16:creationId xmlns:a16="http://schemas.microsoft.com/office/drawing/2014/main" id="{1F980232-3634-4C4D-5929-254FC2801DF9}"/>
              </a:ext>
            </a:extLst>
          </p:cNvPr>
          <p:cNvSpPr txBox="1"/>
          <p:nvPr/>
        </p:nvSpPr>
        <p:spPr>
          <a:xfrm>
            <a:off x="6996515" y="4646094"/>
            <a:ext cx="914020" cy="30021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defTabSz="685817"/>
            <a:r>
              <a:rPr lang="ru-RU" sz="1351">
                <a:solidFill>
                  <a:prstClr val="black"/>
                </a:solidFill>
                <a:latin typeface="Calibri" panose="020F0502020204030204"/>
              </a:rPr>
              <a:t>Не PSIF</a:t>
            </a:r>
          </a:p>
        </p:txBody>
      </p:sp>
      <p:cxnSp>
        <p:nvCxnSpPr>
          <p:cNvPr id="136" name="Connecteur : en angle 135">
            <a:extLst>
              <a:ext uri="{FF2B5EF4-FFF2-40B4-BE49-F238E27FC236}">
                <a16:creationId xmlns:a16="http://schemas.microsoft.com/office/drawing/2014/main" id="{13EFF09E-9133-7AD4-D798-27C20EF37A71}"/>
              </a:ext>
            </a:extLst>
          </p:cNvPr>
          <p:cNvCxnSpPr>
            <a:cxnSpLocks/>
            <a:stCxn id="130" idx="2"/>
            <a:endCxn id="134" idx="1"/>
          </p:cNvCxnSpPr>
          <p:nvPr/>
        </p:nvCxnSpPr>
        <p:spPr>
          <a:xfrm rot="16200000" flipH="1">
            <a:off x="4572434" y="2372117"/>
            <a:ext cx="389195" cy="445896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ZoneTexte 137">
            <a:extLst>
              <a:ext uri="{FF2B5EF4-FFF2-40B4-BE49-F238E27FC236}">
                <a16:creationId xmlns:a16="http://schemas.microsoft.com/office/drawing/2014/main" id="{34750A2E-F1F6-BF2C-14C7-9473A17CD354}"/>
              </a:ext>
            </a:extLst>
          </p:cNvPr>
          <p:cNvSpPr txBox="1"/>
          <p:nvPr/>
        </p:nvSpPr>
        <p:spPr>
          <a:xfrm>
            <a:off x="4706018" y="3508340"/>
            <a:ext cx="1773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7"/>
            <a:r>
              <a:rPr lang="ru-RU" sz="1200" dirty="0">
                <a:solidFill>
                  <a:srgbClr val="FF0000"/>
                </a:solidFill>
                <a:latin typeface="Calibri" panose="020F0502020204030204"/>
              </a:rPr>
              <a:t>Барьеров нет, или есть только слабые барьеры.</a:t>
            </a:r>
          </a:p>
        </p:txBody>
      </p:sp>
      <p:sp>
        <p:nvSpPr>
          <p:cNvPr id="143" name="ZoneTexte 142">
            <a:extLst>
              <a:ext uri="{FF2B5EF4-FFF2-40B4-BE49-F238E27FC236}">
                <a16:creationId xmlns:a16="http://schemas.microsoft.com/office/drawing/2014/main" id="{404923EA-FD6F-4244-DD92-7FDCD24F3975}"/>
              </a:ext>
            </a:extLst>
          </p:cNvPr>
          <p:cNvSpPr txBox="1"/>
          <p:nvPr/>
        </p:nvSpPr>
        <p:spPr>
          <a:xfrm>
            <a:off x="2623522" y="4537066"/>
            <a:ext cx="2466638" cy="300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7"/>
            <a:r>
              <a:rPr lang="ru-RU" sz="1351" dirty="0">
                <a:solidFill>
                  <a:srgbClr val="00B050"/>
                </a:solidFill>
                <a:latin typeface="Calibri" panose="020F0502020204030204"/>
              </a:rPr>
              <a:t>Хотя бы 1 мощный барьер.</a:t>
            </a:r>
          </a:p>
        </p:txBody>
      </p:sp>
      <p:cxnSp>
        <p:nvCxnSpPr>
          <p:cNvPr id="144" name="Connecteur droit avec flèche 143">
            <a:extLst>
              <a:ext uri="{FF2B5EF4-FFF2-40B4-BE49-F238E27FC236}">
                <a16:creationId xmlns:a16="http://schemas.microsoft.com/office/drawing/2014/main" id="{CAEC6AEA-B04E-E842-B34F-C23A575909A5}"/>
              </a:ext>
            </a:extLst>
          </p:cNvPr>
          <p:cNvCxnSpPr>
            <a:cxnSpLocks/>
            <a:stCxn id="130" idx="3"/>
            <a:endCxn id="131" idx="1"/>
          </p:cNvCxnSpPr>
          <p:nvPr/>
        </p:nvCxnSpPr>
        <p:spPr>
          <a:xfrm>
            <a:off x="4464001" y="3991506"/>
            <a:ext cx="2525325" cy="31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88498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>
            <a:extLst>
              <a:ext uri="{FF2B5EF4-FFF2-40B4-BE49-F238E27FC236}">
                <a16:creationId xmlns:a16="http://schemas.microsoft.com/office/drawing/2014/main" id="{9C6196C1-5803-8092-2F0C-B366800EC6BF}"/>
              </a:ext>
            </a:extLst>
          </p:cNvPr>
          <p:cNvGrpSpPr/>
          <p:nvPr/>
        </p:nvGrpSpPr>
        <p:grpSpPr>
          <a:xfrm>
            <a:off x="516278" y="923009"/>
            <a:ext cx="7697911" cy="3692690"/>
            <a:chOff x="414669" y="455883"/>
            <a:chExt cx="11451982" cy="5813618"/>
          </a:xfrm>
        </p:grpSpPr>
        <p:pic>
          <p:nvPicPr>
            <p:cNvPr id="2" name="Picture 6" descr="Hierarchy of Controls [Hazard Exposure + Prevention]">
              <a:extLst>
                <a:ext uri="{FF2B5EF4-FFF2-40B4-BE49-F238E27FC236}">
                  <a16:creationId xmlns:a16="http://schemas.microsoft.com/office/drawing/2014/main" id="{76138E73-65B4-7138-8D9E-5CD4EAF074A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94" t="21197" r="11413" b="8653"/>
            <a:stretch/>
          </p:blipFill>
          <p:spPr bwMode="auto">
            <a:xfrm>
              <a:off x="414669" y="1233651"/>
              <a:ext cx="4756421" cy="43906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5F1DC39-00B0-3B95-F68C-064CC26E392E}"/>
                </a:ext>
              </a:extLst>
            </p:cNvPr>
            <p:cNvSpPr txBox="1"/>
            <p:nvPr/>
          </p:nvSpPr>
          <p:spPr>
            <a:xfrm>
              <a:off x="7881515" y="700006"/>
              <a:ext cx="3410261" cy="7180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17"/>
              <a:r>
                <a:rPr lang="ru-RU" sz="1013" dirty="0">
                  <a:solidFill>
                    <a:prstClr val="black"/>
                  </a:solidFill>
                  <a:latin typeface="Gilroy" panose="00000500000000000000" pitchFamily="50" charset="0"/>
                </a:rPr>
                <a:t>Устранение опасности</a:t>
              </a:r>
            </a:p>
            <a:p>
              <a:pPr defTabSz="685817"/>
              <a:r>
                <a:rPr lang="ru-RU" sz="1351" dirty="0">
                  <a:solidFill>
                    <a:prstClr val="black"/>
                  </a:solidFill>
                  <a:latin typeface="Gilroy" panose="00000500000000000000" pitchFamily="50" charset="0"/>
                </a:rPr>
                <a:t>Мост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507263A-FC33-0420-8693-6B18DB5BBFB6}"/>
                </a:ext>
              </a:extLst>
            </p:cNvPr>
            <p:cNvSpPr txBox="1"/>
            <p:nvPr/>
          </p:nvSpPr>
          <p:spPr>
            <a:xfrm>
              <a:off x="7881518" y="2205449"/>
              <a:ext cx="3569748" cy="7999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17"/>
              <a:r>
                <a:rPr lang="ru-RU" sz="1013" dirty="0">
                  <a:solidFill>
                    <a:prstClr val="black"/>
                  </a:solidFill>
                  <a:latin typeface="Gilroy" panose="00000500000000000000" pitchFamily="50" charset="0"/>
                </a:rPr>
                <a:t>Инженерный контроль</a:t>
              </a:r>
              <a:r>
                <a:rPr lang="ru-RU" sz="1351" dirty="0">
                  <a:solidFill>
                    <a:prstClr val="black"/>
                  </a:solidFill>
                  <a:latin typeface="Gilroy" panose="00000500000000000000" pitchFamily="50" charset="0"/>
                </a:rPr>
                <a:t>
Барьер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432B508-FBC6-6246-7D78-10EE4A75658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415155" y="3571925"/>
              <a:ext cx="1247393" cy="1241028"/>
            </a:xfrm>
            <a:prstGeom prst="ellipse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BC5B885-00CF-49AA-E1F4-93DFDB8EA657}"/>
                </a:ext>
              </a:extLst>
            </p:cNvPr>
            <p:cNvSpPr txBox="1"/>
            <p:nvPr/>
          </p:nvSpPr>
          <p:spPr>
            <a:xfrm>
              <a:off x="7881515" y="3742142"/>
              <a:ext cx="3985136" cy="7180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17"/>
              <a:r>
                <a:rPr lang="ru-RU" sz="1013" dirty="0">
                  <a:solidFill>
                    <a:prstClr val="black"/>
                  </a:solidFill>
                  <a:latin typeface="Gilroy" panose="00000500000000000000" pitchFamily="50" charset="0"/>
                </a:rPr>
                <a:t>Административный контроль</a:t>
              </a:r>
            </a:p>
            <a:p>
              <a:pPr defTabSz="685817"/>
              <a:r>
                <a:rPr lang="ru-RU" sz="1351" dirty="0">
                  <a:solidFill>
                    <a:prstClr val="black"/>
                  </a:solidFill>
                  <a:latin typeface="Gilroy" panose="00000500000000000000" pitchFamily="50" charset="0"/>
                </a:rPr>
                <a:t>Сигнал/инструкция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34F8F2D-1A47-246C-1336-76E2327605BA}"/>
                </a:ext>
              </a:extLst>
            </p:cNvPr>
            <p:cNvSpPr txBox="1"/>
            <p:nvPr/>
          </p:nvSpPr>
          <p:spPr>
            <a:xfrm>
              <a:off x="7881518" y="5187474"/>
              <a:ext cx="2620295" cy="1045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17"/>
              <a:r>
                <a:rPr lang="ru-RU" sz="1013" dirty="0">
                  <a:solidFill>
                    <a:prstClr val="black"/>
                  </a:solidFill>
                  <a:latin typeface="Gilroy" panose="00000500000000000000" pitchFamily="50" charset="0"/>
                </a:rPr>
                <a:t>СИЗ</a:t>
              </a:r>
              <a:endParaRPr lang="ru-RU" sz="1800" dirty="0">
                <a:solidFill>
                  <a:prstClr val="black"/>
                </a:solidFill>
                <a:latin typeface="Gilroy" panose="00000500000000000000" pitchFamily="50" charset="0"/>
              </a:endParaRPr>
            </a:p>
            <a:p>
              <a:pPr defTabSz="685817"/>
              <a:r>
                <a:rPr lang="ru-RU" sz="1351" dirty="0">
                  <a:solidFill>
                    <a:prstClr val="black"/>
                  </a:solidFill>
                  <a:latin typeface="Gilroy" panose="00000500000000000000" pitchFamily="50" charset="0"/>
                </a:rPr>
                <a:t>Ремень безопасности</a:t>
              </a:r>
            </a:p>
          </p:txBody>
        </p:sp>
        <p:pic>
          <p:nvPicPr>
            <p:cNvPr id="5122" name="Picture 2" descr="Why Your Seatbelt Has a Fabric Loop—and the Driver's Seatbelt Doesn't">
              <a:extLst>
                <a:ext uri="{FF2B5EF4-FFF2-40B4-BE49-F238E27FC236}">
                  <a16:creationId xmlns:a16="http://schemas.microsoft.com/office/drawing/2014/main" id="{8B83113A-5FF0-8F25-FA11-CAF245A0FCC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415155" y="5013574"/>
              <a:ext cx="1255927" cy="1255927"/>
            </a:xfrm>
            <a:prstGeom prst="ellipse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DE25C0C-373A-95E2-EF53-12E44102C4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71090" y="1233652"/>
              <a:ext cx="1087820" cy="704417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39D01C19-EAC0-2979-9225-DB2ECC5616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66593" y="2620948"/>
              <a:ext cx="1592317" cy="287748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3B1ABF68-D0E1-6BE9-7972-C97B2E9894C9}"/>
                </a:ext>
              </a:extLst>
            </p:cNvPr>
            <p:cNvCxnSpPr>
              <a:cxnSpLocks/>
            </p:cNvCxnSpPr>
            <p:nvPr/>
          </p:nvCxnSpPr>
          <p:spPr>
            <a:xfrm>
              <a:off x="4066600" y="3753584"/>
              <a:ext cx="2156857" cy="404056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279D6B1B-7628-3567-102E-7FF707BFD28C}"/>
                </a:ext>
              </a:extLst>
            </p:cNvPr>
            <p:cNvCxnSpPr>
              <a:cxnSpLocks/>
            </p:cNvCxnSpPr>
            <p:nvPr/>
          </p:nvCxnSpPr>
          <p:spPr>
            <a:xfrm>
              <a:off x="3499945" y="4770159"/>
              <a:ext cx="2660788" cy="704417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017AC13A-56B1-06C0-8D2C-5AE97C91E0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415155" y="455883"/>
              <a:ext cx="1245572" cy="1247393"/>
            </a:xfrm>
            <a:prstGeom prst="ellipse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05D1D812-ECF3-9DF2-AF58-AD3006ADEFA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415155" y="1998162"/>
              <a:ext cx="1245572" cy="1245572"/>
            </a:xfrm>
            <a:prstGeom prst="ellipse">
              <a:avLst/>
            </a:prstGeom>
          </p:spPr>
        </p:pic>
      </p:grpSp>
      <p:sp>
        <p:nvSpPr>
          <p:cNvPr id="4" name="TextBox 14">
            <a:extLst>
              <a:ext uri="{FF2B5EF4-FFF2-40B4-BE49-F238E27FC236}">
                <a16:creationId xmlns:a16="http://schemas.microsoft.com/office/drawing/2014/main" id="{920DFEBA-3B48-B559-7702-A5B80B316F17}"/>
              </a:ext>
            </a:extLst>
          </p:cNvPr>
          <p:cNvSpPr txBox="1"/>
          <p:nvPr/>
        </p:nvSpPr>
        <p:spPr>
          <a:xfrm>
            <a:off x="405772" y="299761"/>
            <a:ext cx="850892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800">
                <a:solidFill>
                  <a:prstClr val="black"/>
                </a:solidFill>
                <a:latin typeface="Gilroy" panose="00000500000000000000" pitchFamily="50" charset="0"/>
              </a:rPr>
              <a:t>Профессиональное управление рисками: Риски SIF должны контролироваться как минимум двумя независимыми уровнями контроля, один из которых должен быть инженерным или лучше.</a:t>
            </a:r>
          </a:p>
        </p:txBody>
      </p:sp>
      <p:sp>
        <p:nvSpPr>
          <p:cNvPr id="5" name="Right Brace 20">
            <a:extLst>
              <a:ext uri="{FF2B5EF4-FFF2-40B4-BE49-F238E27FC236}">
                <a16:creationId xmlns:a16="http://schemas.microsoft.com/office/drawing/2014/main" id="{DE531E70-6F36-8A59-8224-1227914718CF}"/>
              </a:ext>
            </a:extLst>
          </p:cNvPr>
          <p:cNvSpPr/>
          <p:nvPr/>
        </p:nvSpPr>
        <p:spPr>
          <a:xfrm>
            <a:off x="7793108" y="3010373"/>
            <a:ext cx="259859" cy="1573031"/>
          </a:xfrm>
          <a:prstGeom prst="rightBrace">
            <a:avLst/>
          </a:prstGeom>
          <a:ln w="15875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" name="TextBox 21">
            <a:extLst>
              <a:ext uri="{FF2B5EF4-FFF2-40B4-BE49-F238E27FC236}">
                <a16:creationId xmlns:a16="http://schemas.microsoft.com/office/drawing/2014/main" id="{C37E918B-73C1-AAD3-B42D-ABD8AB9083C6}"/>
              </a:ext>
            </a:extLst>
          </p:cNvPr>
          <p:cNvSpPr txBox="1"/>
          <p:nvPr/>
        </p:nvSpPr>
        <p:spPr>
          <a:xfrm>
            <a:off x="8147155" y="3669939"/>
            <a:ext cx="831953" cy="25404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defTabSz="685817"/>
            <a:r>
              <a:rPr lang="ru-RU" sz="1051">
                <a:solidFill>
                  <a:srgbClr val="FF0000"/>
                </a:solidFill>
                <a:latin typeface="Gilroy" panose="00000500000000000000" pitchFamily="50" charset="0"/>
              </a:rPr>
              <a:t>«СЛАБЫЕ»</a:t>
            </a:r>
          </a:p>
        </p:txBody>
      </p:sp>
      <p:sp>
        <p:nvSpPr>
          <p:cNvPr id="7" name="Right Brace 20">
            <a:extLst>
              <a:ext uri="{FF2B5EF4-FFF2-40B4-BE49-F238E27FC236}">
                <a16:creationId xmlns:a16="http://schemas.microsoft.com/office/drawing/2014/main" id="{2EFE4EE6-4886-6679-2C62-9C3309EF0946}"/>
              </a:ext>
            </a:extLst>
          </p:cNvPr>
          <p:cNvSpPr/>
          <p:nvPr/>
        </p:nvSpPr>
        <p:spPr>
          <a:xfrm>
            <a:off x="7793108" y="1077946"/>
            <a:ext cx="259859" cy="1573031"/>
          </a:xfrm>
          <a:prstGeom prst="rightBrace">
            <a:avLst/>
          </a:prstGeom>
          <a:ln w="15875">
            <a:solidFill>
              <a:srgbClr val="00B05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srgbClr val="00B050"/>
              </a:solidFill>
              <a:latin typeface="Calibri" panose="020F0502020204030204"/>
            </a:endParaRPr>
          </a:p>
        </p:txBody>
      </p:sp>
      <p:sp>
        <p:nvSpPr>
          <p:cNvPr id="8" name="TextBox 21">
            <a:extLst>
              <a:ext uri="{FF2B5EF4-FFF2-40B4-BE49-F238E27FC236}">
                <a16:creationId xmlns:a16="http://schemas.microsoft.com/office/drawing/2014/main" id="{C6F18603-B5C0-F498-7EE0-8F288CD92052}"/>
              </a:ext>
            </a:extLst>
          </p:cNvPr>
          <p:cNvSpPr txBox="1"/>
          <p:nvPr/>
        </p:nvSpPr>
        <p:spPr>
          <a:xfrm>
            <a:off x="8147155" y="1749046"/>
            <a:ext cx="908755" cy="2540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pPr defTabSz="685817"/>
            <a:r>
              <a:rPr lang="ru-RU" sz="1051" dirty="0">
                <a:solidFill>
                  <a:srgbClr val="00B050"/>
                </a:solidFill>
                <a:latin typeface="Gilroy" panose="00000500000000000000" pitchFamily="50" charset="0"/>
              </a:rPr>
              <a:t>«МОЩНЫЕ»</a:t>
            </a:r>
          </a:p>
        </p:txBody>
      </p:sp>
    </p:spTree>
    <p:extLst>
      <p:ext uri="{BB962C8B-B14F-4D97-AF65-F5344CB8AC3E}">
        <p14:creationId xmlns:p14="http://schemas.microsoft.com/office/powerpoint/2010/main" val="2797939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ícone de seta curva afiada. ilustração vetorial. seta arredondada preta.  ponteiro de direção apontando para cima 14638087 Vetor no Vecteezy">
            <a:extLst>
              <a:ext uri="{FF2B5EF4-FFF2-40B4-BE49-F238E27FC236}">
                <a16:creationId xmlns:a16="http://schemas.microsoft.com/office/drawing/2014/main" id="{30BF01F0-1162-DFA5-DB2E-B8B5A54845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432" b="7585"/>
          <a:stretch/>
        </p:blipFill>
        <p:spPr bwMode="auto">
          <a:xfrm rot="12088434" flipH="1">
            <a:off x="7961493" y="625989"/>
            <a:ext cx="954691" cy="1103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8858649-E1DF-08B9-BB8A-180F06DCB420}"/>
              </a:ext>
            </a:extLst>
          </p:cNvPr>
          <p:cNvSpPr txBox="1"/>
          <p:nvPr/>
        </p:nvSpPr>
        <p:spPr>
          <a:xfrm>
            <a:off x="231089" y="173459"/>
            <a:ext cx="5509732" cy="4560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35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ификация случаев с высокой вероятностью – PSIF</a:t>
            </a:r>
          </a:p>
          <a:p>
            <a:pPr defTabSz="685817"/>
            <a:r>
              <a:rPr lang="ru-RU" sz="1013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е уровней серьезности и концепции ограждений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AF2530B4-DFC7-0E4A-9B37-7AE7C57840B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862020" y="2058992"/>
          <a:ext cx="3009136" cy="2279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4729">
                  <a:extLst>
                    <a:ext uri="{9D8B030D-6E8A-4147-A177-3AD203B41FA5}">
                      <a16:colId xmlns:a16="http://schemas.microsoft.com/office/drawing/2014/main" val="3727362850"/>
                    </a:ext>
                  </a:extLst>
                </a:gridCol>
                <a:gridCol w="623153">
                  <a:extLst>
                    <a:ext uri="{9D8B030D-6E8A-4147-A177-3AD203B41FA5}">
                      <a16:colId xmlns:a16="http://schemas.microsoft.com/office/drawing/2014/main" val="3822798411"/>
                    </a:ext>
                  </a:extLst>
                </a:gridCol>
                <a:gridCol w="508607">
                  <a:extLst>
                    <a:ext uri="{9D8B030D-6E8A-4147-A177-3AD203B41FA5}">
                      <a16:colId xmlns:a16="http://schemas.microsoft.com/office/drawing/2014/main" val="3310806178"/>
                    </a:ext>
                  </a:extLst>
                </a:gridCol>
                <a:gridCol w="483213">
                  <a:extLst>
                    <a:ext uri="{9D8B030D-6E8A-4147-A177-3AD203B41FA5}">
                      <a16:colId xmlns:a16="http://schemas.microsoft.com/office/drawing/2014/main" val="2058347780"/>
                    </a:ext>
                  </a:extLst>
                </a:gridCol>
                <a:gridCol w="504717">
                  <a:extLst>
                    <a:ext uri="{9D8B030D-6E8A-4147-A177-3AD203B41FA5}">
                      <a16:colId xmlns:a16="http://schemas.microsoft.com/office/drawing/2014/main" val="4112563463"/>
                    </a:ext>
                  </a:extLst>
                </a:gridCol>
                <a:gridCol w="504717">
                  <a:extLst>
                    <a:ext uri="{9D8B030D-6E8A-4147-A177-3AD203B41FA5}">
                      <a16:colId xmlns:a16="http://schemas.microsoft.com/office/drawing/2014/main" val="2458666265"/>
                    </a:ext>
                  </a:extLst>
                </a:gridCol>
              </a:tblGrid>
              <a:tr h="490612">
                <a:tc rowSpan="5">
                  <a:txBody>
                    <a:bodyPr/>
                    <a:lstStyle/>
                    <a:p>
                      <a:pPr algn="ctr"/>
                      <a:r>
                        <a:rPr lang="ru-RU" sz="1100" b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граждения(контроль на площадке)</a:t>
                      </a:r>
                    </a:p>
                  </a:txBody>
                  <a:tcPr marL="68580" marR="68580" marT="34291" marB="34291" vert="vert27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Нет ограждения</a:t>
                      </a: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wd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wd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9168347"/>
                  </a:ext>
                </a:extLst>
              </a:tr>
              <a:tr h="490612">
                <a:tc vMerge="1">
                  <a:txBody>
                    <a:bodyPr/>
                    <a:lstStyle/>
                    <a:p>
                      <a:pPr algn="l" rtl="0"/>
                      <a:endParaRPr lang="pt-BR" sz="16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Слабый барьер</a:t>
                      </a: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wd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wd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b="0" kern="120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7284763"/>
                  </a:ext>
                </a:extLst>
              </a:tr>
              <a:tr h="490612">
                <a:tc vMerge="1">
                  <a:txBody>
                    <a:bodyPr/>
                    <a:lstStyle/>
                    <a:p>
                      <a:pPr algn="l" rtl="0"/>
                      <a:endParaRPr lang="pt-BR" sz="1600" b="1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Мощный барьер</a:t>
                      </a: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wd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wd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wd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pt-BR" sz="1100" b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wdUpDiag">
                      <a:fgClr>
                        <a:schemeClr val="bg2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82887564"/>
                  </a:ext>
                </a:extLst>
              </a:tr>
              <a:tr h="388622">
                <a:tc vMerge="1">
                  <a:txBody>
                    <a:bodyPr/>
                    <a:lstStyle/>
                    <a:p>
                      <a:pPr algn="l" rtl="0"/>
                      <a:endParaRPr lang="pt-BR" sz="14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SIF</a:t>
                      </a:r>
                    </a:p>
                    <a:p>
                      <a:pPr algn="ctr"/>
                      <a:r>
                        <a:rPr lang="ru-RU" sz="8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рица</a:t>
                      </a: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или 2</a:t>
                      </a: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или 5</a:t>
                      </a: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253529"/>
                  </a:ext>
                </a:extLst>
              </a:tr>
              <a:tr h="388622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ни </a:t>
                      </a:r>
                      <a:r>
                        <a:rPr lang="ru-RU" sz="1100" b="1" u="sng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роятной</a:t>
                      </a: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епени тяжести исхода</a:t>
                      </a:r>
                    </a:p>
                  </a:txBody>
                  <a:tcPr marL="68580" marR="68580" marT="34291" marB="34291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6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8611538"/>
                  </a:ext>
                </a:extLst>
              </a:tr>
            </a:tbl>
          </a:graphicData>
        </a:graphic>
      </p:graphicFrame>
      <p:sp>
        <p:nvSpPr>
          <p:cNvPr id="31784" name="TextBox 31783">
            <a:extLst>
              <a:ext uri="{FF2B5EF4-FFF2-40B4-BE49-F238E27FC236}">
                <a16:creationId xmlns:a16="http://schemas.microsoft.com/office/drawing/2014/main" id="{4D9F134E-50BB-4864-9572-41E980E701BE}"/>
              </a:ext>
            </a:extLst>
          </p:cNvPr>
          <p:cNvSpPr txBox="1"/>
          <p:nvPr/>
        </p:nvSpPr>
        <p:spPr>
          <a:xfrm>
            <a:off x="7559567" y="327262"/>
            <a:ext cx="679235" cy="248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013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IF</a:t>
            </a:r>
          </a:p>
        </p:txBody>
      </p:sp>
      <p:graphicFrame>
        <p:nvGraphicFramePr>
          <p:cNvPr id="31785" name="Table 7">
            <a:extLst>
              <a:ext uri="{FF2B5EF4-FFF2-40B4-BE49-F238E27FC236}">
                <a16:creationId xmlns:a16="http://schemas.microsoft.com/office/drawing/2014/main" id="{7C84CBBE-89E7-F20B-C025-61F0B5E2C87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198372" y="307432"/>
          <a:ext cx="361196" cy="32499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1196">
                  <a:extLst>
                    <a:ext uri="{9D8B030D-6E8A-4147-A177-3AD203B41FA5}">
                      <a16:colId xmlns:a16="http://schemas.microsoft.com/office/drawing/2014/main" val="2458666265"/>
                    </a:ext>
                  </a:extLst>
                </a:gridCol>
              </a:tblGrid>
              <a:tr h="324995">
                <a:tc>
                  <a:txBody>
                    <a:bodyPr/>
                    <a:lstStyle/>
                    <a:p>
                      <a:endParaRPr lang="pt-BR" sz="1100"/>
                    </a:p>
                  </a:txBody>
                  <a:tcPr marL="68580" marR="68580" marT="34291" marB="3429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916834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AB4C253-515A-F643-7E0B-CB62426D2C70}"/>
              </a:ext>
            </a:extLst>
          </p:cNvPr>
          <p:cNvSpPr txBox="1"/>
          <p:nvPr/>
        </p:nvSpPr>
        <p:spPr>
          <a:xfrm>
            <a:off x="819428" y="1325538"/>
            <a:ext cx="17804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ни </a:t>
            </a:r>
            <a:r>
              <a:rPr lang="ru-RU" sz="1200" u="sng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оятной</a:t>
            </a:r>
            <a:r>
              <a:rPr lang="ru-RU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епени тяжести исход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7DA17C-BEB9-4B96-FAE0-709EBB1C5177}"/>
              </a:ext>
            </a:extLst>
          </p:cNvPr>
          <p:cNvSpPr txBox="1"/>
          <p:nvPr/>
        </p:nvSpPr>
        <p:spPr>
          <a:xfrm>
            <a:off x="3474342" y="1298427"/>
            <a:ext cx="17143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ьеры/контроль на площадке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851C1F-3294-6A5B-79FE-7B3B108E1C5C}"/>
              </a:ext>
            </a:extLst>
          </p:cNvPr>
          <p:cNvSpPr txBox="1"/>
          <p:nvPr/>
        </p:nvSpPr>
        <p:spPr>
          <a:xfrm>
            <a:off x="6338210" y="1253462"/>
            <a:ext cx="215416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ая травма наиболее вероятна, учитывая ее серьезность и существующие барьеры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61B3382-FB79-E140-BC57-7F8332E9DAB7}"/>
              </a:ext>
            </a:extLst>
          </p:cNvPr>
          <p:cNvSpPr txBox="1"/>
          <p:nvPr/>
        </p:nvSpPr>
        <p:spPr>
          <a:xfrm>
            <a:off x="6223218" y="318571"/>
            <a:ext cx="1032040" cy="248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013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PSIF</a:t>
            </a:r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55F3AFC4-0D9C-7F25-F382-0403F9443ADB}"/>
              </a:ext>
            </a:extLst>
          </p:cNvPr>
          <p:cNvSpPr/>
          <p:nvPr/>
        </p:nvSpPr>
        <p:spPr>
          <a:xfrm>
            <a:off x="431474" y="1332004"/>
            <a:ext cx="376331" cy="3898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8F7FD6F7-C94C-4974-8325-6936446B0D37}"/>
              </a:ext>
            </a:extLst>
          </p:cNvPr>
          <p:cNvSpPr txBox="1"/>
          <p:nvPr/>
        </p:nvSpPr>
        <p:spPr>
          <a:xfrm>
            <a:off x="460820" y="1352933"/>
            <a:ext cx="36420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17"/>
            <a:r>
              <a:rPr lang="ru-RU" sz="2100">
                <a:solidFill>
                  <a:srgbClr val="44546A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032" name="Rectangle 1031">
            <a:extLst>
              <a:ext uri="{FF2B5EF4-FFF2-40B4-BE49-F238E27FC236}">
                <a16:creationId xmlns:a16="http://schemas.microsoft.com/office/drawing/2014/main" id="{973E2215-0419-E087-9EAA-B9BECC9DF7BD}"/>
              </a:ext>
            </a:extLst>
          </p:cNvPr>
          <p:cNvSpPr/>
          <p:nvPr/>
        </p:nvSpPr>
        <p:spPr>
          <a:xfrm>
            <a:off x="3098012" y="1307949"/>
            <a:ext cx="376331" cy="389820"/>
          </a:xfrm>
          <a:prstGeom prst="rect">
            <a:avLst/>
          </a:prstGeom>
          <a:solidFill>
            <a:srgbClr val="F57E3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1D3B580F-2DB1-7393-E4F2-2E59D5B2683F}"/>
              </a:ext>
            </a:extLst>
          </p:cNvPr>
          <p:cNvSpPr txBox="1"/>
          <p:nvPr/>
        </p:nvSpPr>
        <p:spPr>
          <a:xfrm>
            <a:off x="3127359" y="1328879"/>
            <a:ext cx="36420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17"/>
            <a:r>
              <a:rPr lang="ru-RU" sz="2100">
                <a:solidFill>
                  <a:srgbClr val="44546A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1034" name="Rectangle 1033">
            <a:extLst>
              <a:ext uri="{FF2B5EF4-FFF2-40B4-BE49-F238E27FC236}">
                <a16:creationId xmlns:a16="http://schemas.microsoft.com/office/drawing/2014/main" id="{BC3FDFAD-E1A2-A523-D49B-FFA6D4CC20F0}"/>
              </a:ext>
            </a:extLst>
          </p:cNvPr>
          <p:cNvSpPr/>
          <p:nvPr/>
        </p:nvSpPr>
        <p:spPr>
          <a:xfrm>
            <a:off x="5932534" y="1304608"/>
            <a:ext cx="376331" cy="389820"/>
          </a:xfrm>
          <a:prstGeom prst="rect">
            <a:avLst/>
          </a:prstGeom>
          <a:solidFill>
            <a:srgbClr val="F57E3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8FCE6B1C-C505-B6D3-27C3-6084C29934B1}"/>
              </a:ext>
            </a:extLst>
          </p:cNvPr>
          <p:cNvSpPr txBox="1"/>
          <p:nvPr/>
        </p:nvSpPr>
        <p:spPr>
          <a:xfrm>
            <a:off x="5957173" y="1316063"/>
            <a:ext cx="36420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17"/>
            <a:r>
              <a:rPr lang="ru-RU" sz="2100">
                <a:solidFill>
                  <a:srgbClr val="44546A"/>
                </a:solidFill>
                <a:latin typeface="Arial Black" panose="020B0A04020102020204" pitchFamily="34" charset="0"/>
              </a:rPr>
              <a:t>3</a:t>
            </a:r>
          </a:p>
        </p:txBody>
      </p:sp>
      <p:cxnSp>
        <p:nvCxnSpPr>
          <p:cNvPr id="1040" name="Straight Connector 1039">
            <a:extLst>
              <a:ext uri="{FF2B5EF4-FFF2-40B4-BE49-F238E27FC236}">
                <a16:creationId xmlns:a16="http://schemas.microsoft.com/office/drawing/2014/main" id="{42C61FCD-A76D-7441-8F11-BCBC5A062CFA}"/>
              </a:ext>
            </a:extLst>
          </p:cNvPr>
          <p:cNvCxnSpPr>
            <a:cxnSpLocks/>
          </p:cNvCxnSpPr>
          <p:nvPr/>
        </p:nvCxnSpPr>
        <p:spPr>
          <a:xfrm>
            <a:off x="2688799" y="1316064"/>
            <a:ext cx="0" cy="2835614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41" name="Straight Connector 1040">
            <a:extLst>
              <a:ext uri="{FF2B5EF4-FFF2-40B4-BE49-F238E27FC236}">
                <a16:creationId xmlns:a16="http://schemas.microsoft.com/office/drawing/2014/main" id="{385C6491-F028-C77D-8457-8F38A55C8E57}"/>
              </a:ext>
            </a:extLst>
          </p:cNvPr>
          <p:cNvCxnSpPr>
            <a:cxnSpLocks/>
          </p:cNvCxnSpPr>
          <p:nvPr/>
        </p:nvCxnSpPr>
        <p:spPr>
          <a:xfrm>
            <a:off x="5652332" y="1291959"/>
            <a:ext cx="0" cy="2859719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44" name="TextBox 1043">
            <a:extLst>
              <a:ext uri="{FF2B5EF4-FFF2-40B4-BE49-F238E27FC236}">
                <a16:creationId xmlns:a16="http://schemas.microsoft.com/office/drawing/2014/main" id="{D8357DB4-53A6-BE81-5D03-A5676322E53D}"/>
              </a:ext>
            </a:extLst>
          </p:cNvPr>
          <p:cNvSpPr txBox="1"/>
          <p:nvPr/>
        </p:nvSpPr>
        <p:spPr>
          <a:xfrm>
            <a:off x="3227154" y="1735485"/>
            <a:ext cx="2349710" cy="2551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7"/>
            <a:r>
              <a:rPr lang="ru-RU" sz="105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Нет барьера</a:t>
            </a:r>
          </a:p>
          <a:p>
            <a:pPr algn="just" defTabSz="685817"/>
            <a:r>
              <a:rPr lang="ru-RU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ны риска без изоляции или физических барьеров, движущиеся механизмы без защиты, платформы без ограждений, отсутствие разделения между пешеходами и транспортными средствами, отсутствие детектора газа для загазованных зон и т. д.</a:t>
            </a:r>
          </a:p>
          <a:p>
            <a:pPr defTabSz="685817"/>
            <a:endParaRPr lang="en-US" sz="105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17"/>
            <a:r>
              <a:rPr lang="ru-RU" sz="105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Слабые барьеры — административный контроль</a:t>
            </a:r>
          </a:p>
          <a:p>
            <a:pPr algn="just" defTabSz="685817"/>
            <a:r>
              <a:rPr lang="ru-RU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З, сигнал, официальные инструкции, устные инструкции, стандартные рабочие процедуры, правила, опыт, обучение, обычные ворота и ограждения без датчиков, блокировок или навесных замков и т. д.</a:t>
            </a:r>
          </a:p>
          <a:p>
            <a:pPr defTabSz="685817"/>
            <a:endParaRPr lang="en-US" sz="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17"/>
            <a:r>
              <a:rPr lang="ru-RU" sz="105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Мощные барьеры - инженерные  </a:t>
            </a:r>
          </a:p>
          <a:p>
            <a:pPr algn="just" defTabSz="685817"/>
            <a:r>
              <a:rPr lang="ru-RU" sz="67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лирует людей от опасности с помощью автоматического управления, ограждений и физических барьеров с блокировкой, интеллектуальных камер, датчиков и т. д.</a:t>
            </a:r>
          </a:p>
        </p:txBody>
      </p:sp>
      <p:pic>
        <p:nvPicPr>
          <p:cNvPr id="1049" name="Picture 1048">
            <a:extLst>
              <a:ext uri="{FF2B5EF4-FFF2-40B4-BE49-F238E27FC236}">
                <a16:creationId xmlns:a16="http://schemas.microsoft.com/office/drawing/2014/main" id="{B946FF5A-A86A-77DC-4C5E-694D5B80C4F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991" t="10872" r="11755" b="10058"/>
          <a:stretch/>
        </p:blipFill>
        <p:spPr>
          <a:xfrm>
            <a:off x="2879191" y="1983527"/>
            <a:ext cx="273703" cy="276556"/>
          </a:xfrm>
          <a:prstGeom prst="rect">
            <a:avLst/>
          </a:prstGeom>
        </p:spPr>
      </p:pic>
      <p:pic>
        <p:nvPicPr>
          <p:cNvPr id="1052" name="Picture 6" descr="Procedures line icon on white art Royalty Free Vector Image">
            <a:extLst>
              <a:ext uri="{FF2B5EF4-FFF2-40B4-BE49-F238E27FC236}">
                <a16:creationId xmlns:a16="http://schemas.microsoft.com/office/drawing/2014/main" id="{CE49F63E-85C2-BB98-4A90-670DAF2F53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018" t="31401" r="43487" b="31933"/>
          <a:stretch/>
        </p:blipFill>
        <p:spPr bwMode="auto">
          <a:xfrm>
            <a:off x="2875869" y="2717288"/>
            <a:ext cx="269407" cy="318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5" name="Picture 1054">
            <a:extLst>
              <a:ext uri="{FF2B5EF4-FFF2-40B4-BE49-F238E27FC236}">
                <a16:creationId xmlns:a16="http://schemas.microsoft.com/office/drawing/2014/main" id="{7B6ACE93-DFCD-7CA5-0225-ECA9E0BF847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biLevel thresh="75000"/>
          </a:blip>
          <a:srcRect l="25590" t="19565" r="24379" b="18406"/>
          <a:stretch/>
        </p:blipFill>
        <p:spPr>
          <a:xfrm>
            <a:off x="2860958" y="3432740"/>
            <a:ext cx="299227" cy="299929"/>
          </a:xfrm>
          <a:prstGeom prst="rect">
            <a:avLst/>
          </a:prstGeom>
        </p:spPr>
      </p:pic>
      <p:sp>
        <p:nvSpPr>
          <p:cNvPr id="31790" name="TextBox 31789">
            <a:extLst>
              <a:ext uri="{FF2B5EF4-FFF2-40B4-BE49-F238E27FC236}">
                <a16:creationId xmlns:a16="http://schemas.microsoft.com/office/drawing/2014/main" id="{2244E1D5-522C-820E-30A5-E39C59ADAF35}"/>
              </a:ext>
            </a:extLst>
          </p:cNvPr>
          <p:cNvSpPr txBox="1"/>
          <p:nvPr/>
        </p:nvSpPr>
        <p:spPr>
          <a:xfrm>
            <a:off x="220550" y="857031"/>
            <a:ext cx="5525032" cy="508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135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частный случай, опасное действие или опасное состояние потенциально могут:</a:t>
            </a:r>
          </a:p>
        </p:txBody>
      </p:sp>
      <p:sp>
        <p:nvSpPr>
          <p:cNvPr id="31793" name="TextBox 31792">
            <a:extLst>
              <a:ext uri="{FF2B5EF4-FFF2-40B4-BE49-F238E27FC236}">
                <a16:creationId xmlns:a16="http://schemas.microsoft.com/office/drawing/2014/main" id="{BCDBE067-65FB-88BF-9B4E-8F4C192A5A98}"/>
              </a:ext>
            </a:extLst>
          </p:cNvPr>
          <p:cNvSpPr txBox="1"/>
          <p:nvPr/>
        </p:nvSpPr>
        <p:spPr>
          <a:xfrm>
            <a:off x="321918" y="4346507"/>
            <a:ext cx="1264775" cy="6117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частный случай:</a:t>
            </a:r>
          </a:p>
          <a:p>
            <a:pPr defTabSz="685817"/>
            <a:r>
              <a:rPr lang="ru-RU" sz="825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дение с той же высоты во время ходьбы.</a:t>
            </a:r>
          </a:p>
        </p:txBody>
      </p:sp>
      <p:sp>
        <p:nvSpPr>
          <p:cNvPr id="31802" name="TextBox 31801">
            <a:extLst>
              <a:ext uri="{FF2B5EF4-FFF2-40B4-BE49-F238E27FC236}">
                <a16:creationId xmlns:a16="http://schemas.microsoft.com/office/drawing/2014/main" id="{1E9FA420-D032-6CAB-A5B0-6464280F5D8C}"/>
              </a:ext>
            </a:extLst>
          </p:cNvPr>
          <p:cNvSpPr txBox="1"/>
          <p:nvPr/>
        </p:nvSpPr>
        <p:spPr>
          <a:xfrm>
            <a:off x="3288901" y="4335139"/>
            <a:ext cx="136052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ое действие:</a:t>
            </a:r>
          </a:p>
          <a:p>
            <a:pPr defTabSz="685817"/>
            <a:r>
              <a:rPr lang="ru-RU" sz="825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на высоте с использованием страховочных ремней без пристегивания.</a:t>
            </a:r>
          </a:p>
        </p:txBody>
      </p:sp>
      <p:sp>
        <p:nvSpPr>
          <p:cNvPr id="31803" name="TextBox 31802">
            <a:extLst>
              <a:ext uri="{FF2B5EF4-FFF2-40B4-BE49-F238E27FC236}">
                <a16:creationId xmlns:a16="http://schemas.microsoft.com/office/drawing/2014/main" id="{2C640A74-20CA-BA5B-5188-24306BEE50E8}"/>
              </a:ext>
            </a:extLst>
          </p:cNvPr>
          <p:cNvSpPr txBox="1"/>
          <p:nvPr/>
        </p:nvSpPr>
        <p:spPr>
          <a:xfrm>
            <a:off x="4829048" y="4346506"/>
            <a:ext cx="1252419" cy="865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ые условия:</a:t>
            </a:r>
          </a:p>
          <a:p>
            <a:pPr defTabSz="685817"/>
            <a:r>
              <a:rPr lang="ru-RU" sz="825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вышенная позиция (&gt;1,8 м) без ограждения, только предупреждение «Внимание».</a:t>
            </a:r>
          </a:p>
        </p:txBody>
      </p:sp>
      <p:sp>
        <p:nvSpPr>
          <p:cNvPr id="31804" name="Oval 31803">
            <a:extLst>
              <a:ext uri="{FF2B5EF4-FFF2-40B4-BE49-F238E27FC236}">
                <a16:creationId xmlns:a16="http://schemas.microsoft.com/office/drawing/2014/main" id="{15EABB8A-092E-02BD-EC21-3F4458CF5246}"/>
              </a:ext>
            </a:extLst>
          </p:cNvPr>
          <p:cNvSpPr/>
          <p:nvPr/>
        </p:nvSpPr>
        <p:spPr>
          <a:xfrm>
            <a:off x="205143" y="4368689"/>
            <a:ext cx="141629" cy="141629"/>
          </a:xfrm>
          <a:prstGeom prst="ellipse">
            <a:avLst/>
          </a:prstGeom>
          <a:solidFill>
            <a:srgbClr val="D2BF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05" name="Oval 31804">
            <a:extLst>
              <a:ext uri="{FF2B5EF4-FFF2-40B4-BE49-F238E27FC236}">
                <a16:creationId xmlns:a16="http://schemas.microsoft.com/office/drawing/2014/main" id="{763635B3-99EC-7913-2DE2-7050FCE29312}"/>
              </a:ext>
            </a:extLst>
          </p:cNvPr>
          <p:cNvSpPr/>
          <p:nvPr/>
        </p:nvSpPr>
        <p:spPr>
          <a:xfrm>
            <a:off x="3163508" y="4368689"/>
            <a:ext cx="141629" cy="14162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06" name="Oval 31805">
            <a:extLst>
              <a:ext uri="{FF2B5EF4-FFF2-40B4-BE49-F238E27FC236}">
                <a16:creationId xmlns:a16="http://schemas.microsoft.com/office/drawing/2014/main" id="{BBBAAD8D-4468-7CAD-9661-7D38EAE1A42C}"/>
              </a:ext>
            </a:extLst>
          </p:cNvPr>
          <p:cNvSpPr/>
          <p:nvPr/>
        </p:nvSpPr>
        <p:spPr>
          <a:xfrm>
            <a:off x="7056743" y="2241275"/>
            <a:ext cx="141629" cy="141629"/>
          </a:xfrm>
          <a:prstGeom prst="ellipse">
            <a:avLst/>
          </a:prstGeom>
          <a:solidFill>
            <a:srgbClr val="D2BF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07" name="Oval 31806">
            <a:extLst>
              <a:ext uri="{FF2B5EF4-FFF2-40B4-BE49-F238E27FC236}">
                <a16:creationId xmlns:a16="http://schemas.microsoft.com/office/drawing/2014/main" id="{377F79CA-E62B-C450-7512-14AFCBC770FA}"/>
              </a:ext>
            </a:extLst>
          </p:cNvPr>
          <p:cNvSpPr/>
          <p:nvPr/>
        </p:nvSpPr>
        <p:spPr>
          <a:xfrm>
            <a:off x="8188471" y="2549569"/>
            <a:ext cx="141629" cy="14162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08" name="Oval 31807">
            <a:extLst>
              <a:ext uri="{FF2B5EF4-FFF2-40B4-BE49-F238E27FC236}">
                <a16:creationId xmlns:a16="http://schemas.microsoft.com/office/drawing/2014/main" id="{4E2FA017-EB2A-6743-C34F-12B1348572DD}"/>
              </a:ext>
            </a:extLst>
          </p:cNvPr>
          <p:cNvSpPr/>
          <p:nvPr/>
        </p:nvSpPr>
        <p:spPr>
          <a:xfrm>
            <a:off x="4674620" y="4368689"/>
            <a:ext cx="141629" cy="141629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09" name="TextBox 31808">
            <a:extLst>
              <a:ext uri="{FF2B5EF4-FFF2-40B4-BE49-F238E27FC236}">
                <a16:creationId xmlns:a16="http://schemas.microsoft.com/office/drawing/2014/main" id="{495B8B94-DA4A-AD63-7C0C-83A0B7689BF2}"/>
              </a:ext>
            </a:extLst>
          </p:cNvPr>
          <p:cNvSpPr txBox="1"/>
          <p:nvPr/>
        </p:nvSpPr>
        <p:spPr>
          <a:xfrm>
            <a:off x="1660623" y="4335140"/>
            <a:ext cx="1386012" cy="865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частный случай:</a:t>
            </a:r>
          </a:p>
          <a:p>
            <a:pPr defTabSz="685817"/>
            <a:r>
              <a:rPr lang="ru-RU" sz="825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лец раздавлен движущейся машиной с защитной сеткой для предотвращения защемления всей руки.</a:t>
            </a:r>
          </a:p>
        </p:txBody>
      </p:sp>
      <p:sp>
        <p:nvSpPr>
          <p:cNvPr id="31810" name="Oval 31809">
            <a:extLst>
              <a:ext uri="{FF2B5EF4-FFF2-40B4-BE49-F238E27FC236}">
                <a16:creationId xmlns:a16="http://schemas.microsoft.com/office/drawing/2014/main" id="{359E03F8-D98A-A210-ACD3-EE18F6615F94}"/>
              </a:ext>
            </a:extLst>
          </p:cNvPr>
          <p:cNvSpPr/>
          <p:nvPr/>
        </p:nvSpPr>
        <p:spPr>
          <a:xfrm>
            <a:off x="1524745" y="4368689"/>
            <a:ext cx="141629" cy="141629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11" name="Oval 31810">
            <a:extLst>
              <a:ext uri="{FF2B5EF4-FFF2-40B4-BE49-F238E27FC236}">
                <a16:creationId xmlns:a16="http://schemas.microsoft.com/office/drawing/2014/main" id="{0AA63389-B14C-D466-6C54-61237B0F809B}"/>
              </a:ext>
            </a:extLst>
          </p:cNvPr>
          <p:cNvSpPr/>
          <p:nvPr/>
        </p:nvSpPr>
        <p:spPr>
          <a:xfrm>
            <a:off x="8015252" y="2693854"/>
            <a:ext cx="141629" cy="141629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12" name="Oval 31811">
            <a:extLst>
              <a:ext uri="{FF2B5EF4-FFF2-40B4-BE49-F238E27FC236}">
                <a16:creationId xmlns:a16="http://schemas.microsoft.com/office/drawing/2014/main" id="{1102F6B1-4C01-1C55-A8AF-D282F7BBCB9B}"/>
              </a:ext>
            </a:extLst>
          </p:cNvPr>
          <p:cNvSpPr/>
          <p:nvPr/>
        </p:nvSpPr>
        <p:spPr>
          <a:xfrm>
            <a:off x="7539884" y="2663056"/>
            <a:ext cx="141629" cy="141629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13" name="TextBox 31812">
            <a:extLst>
              <a:ext uri="{FF2B5EF4-FFF2-40B4-BE49-F238E27FC236}">
                <a16:creationId xmlns:a16="http://schemas.microsoft.com/office/drawing/2014/main" id="{5320CCC8-2FEE-B87F-8187-EDA3D76A21E3}"/>
              </a:ext>
            </a:extLst>
          </p:cNvPr>
          <p:cNvSpPr txBox="1"/>
          <p:nvPr/>
        </p:nvSpPr>
        <p:spPr>
          <a:xfrm>
            <a:off x="6252223" y="4346507"/>
            <a:ext cx="1252419" cy="865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ые условия:</a:t>
            </a:r>
          </a:p>
          <a:p>
            <a:pPr defTabSz="685817"/>
            <a:r>
              <a:rPr lang="ru-RU" sz="825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лочный погрузчик работает рядом с людьми без ограждения или защитных датчиков.</a:t>
            </a:r>
          </a:p>
        </p:txBody>
      </p:sp>
      <p:sp>
        <p:nvSpPr>
          <p:cNvPr id="31814" name="Oval 31813">
            <a:extLst>
              <a:ext uri="{FF2B5EF4-FFF2-40B4-BE49-F238E27FC236}">
                <a16:creationId xmlns:a16="http://schemas.microsoft.com/office/drawing/2014/main" id="{0D69ABB8-EAEA-76F0-75A2-C9192CD54C21}"/>
              </a:ext>
            </a:extLst>
          </p:cNvPr>
          <p:cNvSpPr/>
          <p:nvPr/>
        </p:nvSpPr>
        <p:spPr>
          <a:xfrm>
            <a:off x="6097795" y="4368689"/>
            <a:ext cx="141629" cy="14162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15" name="TextBox 31814">
            <a:extLst>
              <a:ext uri="{FF2B5EF4-FFF2-40B4-BE49-F238E27FC236}">
                <a16:creationId xmlns:a16="http://schemas.microsoft.com/office/drawing/2014/main" id="{0013C6C9-1C2B-B1A6-A073-BAF9A3458646}"/>
              </a:ext>
            </a:extLst>
          </p:cNvPr>
          <p:cNvSpPr txBox="1"/>
          <p:nvPr/>
        </p:nvSpPr>
        <p:spPr>
          <a:xfrm>
            <a:off x="7619255" y="4335141"/>
            <a:ext cx="1560351" cy="8540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17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ые условия:</a:t>
            </a:r>
          </a:p>
          <a:p>
            <a:pPr defTabSz="685817"/>
            <a:r>
              <a:rPr lang="ru-RU" sz="675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ощадка для грузовых автомобилей без разделения между грузовыми автомобилями и пешеходами, имеются только Стандартные Рабочие Процедуры.</a:t>
            </a:r>
          </a:p>
        </p:txBody>
      </p:sp>
      <p:sp>
        <p:nvSpPr>
          <p:cNvPr id="31816" name="Oval 31815">
            <a:extLst>
              <a:ext uri="{FF2B5EF4-FFF2-40B4-BE49-F238E27FC236}">
                <a16:creationId xmlns:a16="http://schemas.microsoft.com/office/drawing/2014/main" id="{E49644A6-CD31-37A0-CD17-04AFC7E78445}"/>
              </a:ext>
            </a:extLst>
          </p:cNvPr>
          <p:cNvSpPr/>
          <p:nvPr/>
        </p:nvSpPr>
        <p:spPr>
          <a:xfrm>
            <a:off x="7520624" y="4376184"/>
            <a:ext cx="141629" cy="141629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17" name="Oval 31816">
            <a:extLst>
              <a:ext uri="{FF2B5EF4-FFF2-40B4-BE49-F238E27FC236}">
                <a16:creationId xmlns:a16="http://schemas.microsoft.com/office/drawing/2014/main" id="{4620F273-A5E5-5BEE-178B-CDD1CD6D3EE2}"/>
              </a:ext>
            </a:extLst>
          </p:cNvPr>
          <p:cNvSpPr/>
          <p:nvPr/>
        </p:nvSpPr>
        <p:spPr>
          <a:xfrm>
            <a:off x="8012893" y="2216194"/>
            <a:ext cx="141629" cy="141629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1818" name="Oval 31817">
            <a:extLst>
              <a:ext uri="{FF2B5EF4-FFF2-40B4-BE49-F238E27FC236}">
                <a16:creationId xmlns:a16="http://schemas.microsoft.com/office/drawing/2014/main" id="{82D0AA2A-CAD9-2F6F-9A3A-FE7F96360AD2}"/>
              </a:ext>
            </a:extLst>
          </p:cNvPr>
          <p:cNvSpPr/>
          <p:nvPr/>
        </p:nvSpPr>
        <p:spPr>
          <a:xfrm>
            <a:off x="8545051" y="2663056"/>
            <a:ext cx="141629" cy="141629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17"/>
            <a:endParaRPr lang="pt-BR" sz="135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579A5C-B104-1C67-5683-94C4F700ED7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biLevel thresh="75000"/>
          </a:blip>
          <a:srcRect l="25590" t="19565" r="24379" b="18406"/>
          <a:stretch/>
        </p:blipFill>
        <p:spPr>
          <a:xfrm>
            <a:off x="2864281" y="3422208"/>
            <a:ext cx="299227" cy="299929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F9F0133-91D0-4C43-B6CF-DF5A4787CD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0857" y="2001285"/>
            <a:ext cx="2488272" cy="208381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66FD84E-3D0A-4FE3-BF40-18DB041D0E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78238" y="284718"/>
            <a:ext cx="348000" cy="3332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876357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8858649-E1DF-08B9-BB8A-180F06DCB420}"/>
              </a:ext>
            </a:extLst>
          </p:cNvPr>
          <p:cNvSpPr txBox="1"/>
          <p:nvPr/>
        </p:nvSpPr>
        <p:spPr>
          <a:xfrm>
            <a:off x="489072" y="141872"/>
            <a:ext cx="81658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 err="1"/>
              <a:t>Проактивные</a:t>
            </a:r>
            <a:r>
              <a:rPr lang="en-GB" sz="1800" dirty="0"/>
              <a:t>: PSIF</a:t>
            </a:r>
          </a:p>
        </p:txBody>
      </p:sp>
      <p:cxnSp>
        <p:nvCxnSpPr>
          <p:cNvPr id="16" name="Straight Connector 37">
            <a:extLst>
              <a:ext uri="{FF2B5EF4-FFF2-40B4-BE49-F238E27FC236}">
                <a16:creationId xmlns:a16="http://schemas.microsoft.com/office/drawing/2014/main" id="{523278E6-801C-42A4-A182-CBA24951B715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 flipV="1">
            <a:off x="4349433" y="2318204"/>
            <a:ext cx="677853" cy="47947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7" name="Object 38">
            <a:extLst>
              <a:ext uri="{FF2B5EF4-FFF2-40B4-BE49-F238E27FC236}">
                <a16:creationId xmlns:a16="http://schemas.microsoft.com/office/drawing/2014/main" id="{E5344D6B-4B48-4412-8DC2-FB868AF1B467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2617425" y="1588141"/>
          <a:ext cx="4674210" cy="2129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18" name="Straight Connector 39">
            <a:extLst>
              <a:ext uri="{FF2B5EF4-FFF2-40B4-BE49-F238E27FC236}">
                <a16:creationId xmlns:a16="http://schemas.microsoft.com/office/drawing/2014/main" id="{AA8E3056-435B-48F9-916E-53BA69AAB81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4376572" y="3524715"/>
            <a:ext cx="677853" cy="2897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tangle 40">
            <a:extLst>
              <a:ext uri="{FF2B5EF4-FFF2-40B4-BE49-F238E27FC236}">
                <a16:creationId xmlns:a16="http://schemas.microsoft.com/office/drawing/2014/main" id="{5ACEFC4C-FBEA-4A4C-A2E5-A204E2FE1444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5536164" y="3545981"/>
            <a:ext cx="410492" cy="11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 defTabSz="685800">
              <a:spcBef>
                <a:spcPct val="0"/>
              </a:spcBef>
              <a:buClr>
                <a:srgbClr val="FF3700"/>
              </a:buClr>
              <a:buNone/>
              <a:defRPr/>
            </a:pPr>
            <a:r>
              <a:rPr lang="ru-RU" altLang="en-US" sz="1050" dirty="0">
                <a:solidFill>
                  <a:srgbClr val="FFFFFF"/>
                </a:solidFill>
                <a:latin typeface="Arial"/>
                <a:sym typeface="+mn-lt"/>
              </a:rPr>
              <a:t>0,69</a:t>
            </a:r>
            <a:endParaRPr lang="en-US" sz="1050" dirty="0">
              <a:solidFill>
                <a:srgbClr val="FFFFFF"/>
              </a:solidFill>
              <a:latin typeface="Arial"/>
              <a:sym typeface="+mn-lt"/>
            </a:endParaRPr>
          </a:p>
        </p:txBody>
      </p:sp>
      <p:sp>
        <p:nvSpPr>
          <p:cNvPr id="20" name="Rectangle 41">
            <a:extLst>
              <a:ext uri="{FF2B5EF4-FFF2-40B4-BE49-F238E27FC236}">
                <a16:creationId xmlns:a16="http://schemas.microsoft.com/office/drawing/2014/main" id="{4722C3F4-2E2A-4DA4-B6F5-5FE2FA8757EC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5632212" y="2737844"/>
            <a:ext cx="205246" cy="11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 defTabSz="685800">
              <a:spcBef>
                <a:spcPct val="0"/>
              </a:spcBef>
              <a:buClr>
                <a:srgbClr val="FF3700"/>
              </a:buClr>
              <a:buNone/>
              <a:defRPr/>
            </a:pPr>
            <a:r>
              <a:rPr lang="ru-RU" altLang="en-US" sz="1050" dirty="0">
                <a:solidFill>
                  <a:srgbClr val="FFFFFF"/>
                </a:solidFill>
                <a:latin typeface="Arial"/>
              </a:rPr>
              <a:t>9,43</a:t>
            </a:r>
            <a:endParaRPr lang="en-US" sz="1050" dirty="0">
              <a:solidFill>
                <a:srgbClr val="FFFFFF"/>
              </a:solidFill>
              <a:latin typeface="Arial"/>
              <a:sym typeface="+mn-lt"/>
            </a:endParaRPr>
          </a:p>
        </p:txBody>
      </p:sp>
      <p:sp>
        <p:nvSpPr>
          <p:cNvPr id="23" name="Rectangle 43">
            <a:extLst>
              <a:ext uri="{FF2B5EF4-FFF2-40B4-BE49-F238E27FC236}">
                <a16:creationId xmlns:a16="http://schemas.microsoft.com/office/drawing/2014/main" id="{744702DE-58F2-4342-93E6-455846FE4DF7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3463030" y="3501869"/>
            <a:ext cx="259992" cy="11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 defTabSz="685800">
              <a:spcBef>
                <a:spcPct val="0"/>
              </a:spcBef>
              <a:buClr>
                <a:srgbClr val="FF3700"/>
              </a:buClr>
              <a:buNone/>
              <a:defRPr/>
            </a:pPr>
            <a:r>
              <a:rPr lang="ru-RU" altLang="en-US" sz="1050" dirty="0">
                <a:solidFill>
                  <a:srgbClr val="FFFFFF"/>
                </a:solidFill>
                <a:latin typeface="Arial"/>
                <a:sym typeface="+mn-lt"/>
              </a:rPr>
              <a:t>0,88</a:t>
            </a:r>
            <a:endParaRPr lang="en-US" sz="1050" dirty="0">
              <a:solidFill>
                <a:srgbClr val="FFFFFF"/>
              </a:solidFill>
              <a:latin typeface="Arial"/>
              <a:sym typeface="+mn-lt"/>
            </a:endParaRPr>
          </a:p>
        </p:txBody>
      </p:sp>
      <p:sp>
        <p:nvSpPr>
          <p:cNvPr id="24" name="Rectangle 44">
            <a:extLst>
              <a:ext uri="{FF2B5EF4-FFF2-40B4-BE49-F238E27FC236}">
                <a16:creationId xmlns:a16="http://schemas.microsoft.com/office/drawing/2014/main" id="{0E1E6A08-B8BC-43AA-8E44-CDEDC47643CF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568569" y="2991635"/>
            <a:ext cx="205246" cy="11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anchor="ctr" anchorCtr="0" compatLnSpc="1">
            <a:prstTxWarp prst="textNoShape">
              <a:avLst/>
            </a:prstTxWarp>
            <a:noAutofit/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 defTabSz="685800">
              <a:spcBef>
                <a:spcPct val="0"/>
              </a:spcBef>
              <a:buClr>
                <a:srgbClr val="FF3700"/>
              </a:buClr>
              <a:buNone/>
              <a:defRPr/>
            </a:pPr>
            <a:r>
              <a:rPr lang="ru-RU" altLang="en-US" sz="1050" dirty="0">
                <a:solidFill>
                  <a:srgbClr val="FFFFFF"/>
                </a:solidFill>
                <a:latin typeface="Arial"/>
              </a:rPr>
              <a:t>7,24</a:t>
            </a:r>
            <a:endParaRPr lang="en-US" sz="1050" dirty="0">
              <a:solidFill>
                <a:srgbClr val="FFFFFF"/>
              </a:solidFill>
              <a:latin typeface="Arial"/>
              <a:sym typeface="+mn-lt"/>
            </a:endParaRPr>
          </a:p>
        </p:txBody>
      </p:sp>
      <p:sp>
        <p:nvSpPr>
          <p:cNvPr id="25" name="Rectangle 46">
            <a:extLst>
              <a:ext uri="{FF2B5EF4-FFF2-40B4-BE49-F238E27FC236}">
                <a16:creationId xmlns:a16="http://schemas.microsoft.com/office/drawing/2014/main" id="{1770AA86-EC17-4572-88FF-1542AE76FFB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852365" y="2874655"/>
            <a:ext cx="130236" cy="105371"/>
          </a:xfrm>
          <a:prstGeom prst="rect">
            <a:avLst/>
          </a:prstGeom>
          <a:solidFill>
            <a:srgbClr val="70A48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125" b="1">
              <a:solidFill>
                <a:srgbClr val="696969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26" name="Rectangle 47">
            <a:extLst>
              <a:ext uri="{FF2B5EF4-FFF2-40B4-BE49-F238E27FC236}">
                <a16:creationId xmlns:a16="http://schemas.microsoft.com/office/drawing/2014/main" id="{CE92DEB9-E7FF-40D4-9E1A-9149E7137F7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852365" y="3034514"/>
            <a:ext cx="130236" cy="105371"/>
          </a:xfrm>
          <a:prstGeom prst="rect">
            <a:avLst/>
          </a:prstGeom>
          <a:solidFill>
            <a:srgbClr val="FF37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125" b="1">
              <a:solidFill>
                <a:srgbClr val="696969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27" name="Rectangle 48">
            <a:extLst>
              <a:ext uri="{FF2B5EF4-FFF2-40B4-BE49-F238E27FC236}">
                <a16:creationId xmlns:a16="http://schemas.microsoft.com/office/drawing/2014/main" id="{B2C27638-9DF9-468C-88AB-532D92486C78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008978" y="3020209"/>
            <a:ext cx="384114" cy="11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685800">
              <a:spcBef>
                <a:spcPct val="0"/>
              </a:spcBef>
              <a:buClr>
                <a:srgbClr val="FF3700"/>
              </a:buClr>
              <a:buNone/>
              <a:defRPr/>
            </a:pPr>
            <a:r>
              <a:rPr lang="ru-RU" sz="788" dirty="0">
                <a:solidFill>
                  <a:srgbClr val="696969"/>
                </a:solidFill>
                <a:latin typeface="Arial"/>
                <a:sym typeface="+mn-lt"/>
              </a:rPr>
              <a:t>Реактивные</a:t>
            </a:r>
            <a:endParaRPr lang="en-US" sz="788" dirty="0">
              <a:solidFill>
                <a:srgbClr val="696969"/>
              </a:solidFill>
              <a:latin typeface="Arial"/>
              <a:sym typeface="+mn-lt"/>
            </a:endParaRPr>
          </a:p>
        </p:txBody>
      </p:sp>
      <p:sp>
        <p:nvSpPr>
          <p:cNvPr id="28" name="Rectangle 49">
            <a:extLst>
              <a:ext uri="{FF2B5EF4-FFF2-40B4-BE49-F238E27FC236}">
                <a16:creationId xmlns:a16="http://schemas.microsoft.com/office/drawing/2014/main" id="{E1B3DA32-619E-49D5-9372-179FA2CC1926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008978" y="2871977"/>
            <a:ext cx="384114" cy="11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MS PGothic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685800">
              <a:spcBef>
                <a:spcPct val="0"/>
              </a:spcBef>
              <a:buClr>
                <a:srgbClr val="FF3700"/>
              </a:buClr>
              <a:buNone/>
              <a:defRPr/>
            </a:pPr>
            <a:r>
              <a:rPr lang="ru-RU" altLang="en-US" sz="788" dirty="0">
                <a:solidFill>
                  <a:srgbClr val="696969"/>
                </a:solidFill>
                <a:latin typeface="Arial"/>
              </a:rPr>
              <a:t>Проактивные</a:t>
            </a:r>
            <a:endParaRPr lang="en-US" sz="788" dirty="0">
              <a:solidFill>
                <a:srgbClr val="696969"/>
              </a:solidFill>
              <a:latin typeface="Arial"/>
              <a:sym typeface="+mn-lt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7CFED9D-E05B-4B50-937E-D5F0C1DB5966}"/>
              </a:ext>
            </a:extLst>
          </p:cNvPr>
          <p:cNvSpPr txBox="1"/>
          <p:nvPr/>
        </p:nvSpPr>
        <p:spPr>
          <a:xfrm>
            <a:off x="3084228" y="775898"/>
            <a:ext cx="1379173" cy="715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3" b="1" dirty="0">
                <a:solidFill>
                  <a:srgbClr val="696969"/>
                </a:solidFill>
                <a:latin typeface="Arial" panose="020B0604020202020204" pitchFamily="34" charset="0"/>
                <a:ea typeface="MS PGothic"/>
                <a:cs typeface="Arial" charset="0"/>
              </a:rPr>
              <a:t>Предприятия со смертельными случаями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13" b="1" dirty="0">
                <a:solidFill>
                  <a:srgbClr val="696969"/>
                </a:solidFill>
                <a:latin typeface="Arial" panose="020B0604020202020204" pitchFamily="34" charset="0"/>
                <a:ea typeface="MS PGothic"/>
                <a:cs typeface="Arial" charset="0"/>
              </a:rPr>
              <a:t> </a:t>
            </a:r>
            <a:r>
              <a:rPr lang="ru-RU" sz="1013" b="1" dirty="0">
                <a:solidFill>
                  <a:srgbClr val="696969"/>
                </a:solidFill>
                <a:latin typeface="Arial" panose="020B0604020202020204" pitchFamily="34" charset="0"/>
                <a:ea typeface="MS PGothic"/>
                <a:cs typeface="Arial" charset="0"/>
              </a:rPr>
              <a:t>2022</a:t>
            </a:r>
            <a:endParaRPr lang="en-US" sz="1013" b="1" dirty="0">
              <a:solidFill>
                <a:srgbClr val="696969"/>
              </a:solidFill>
              <a:latin typeface="Arial" panose="020B0604020202020204" pitchFamily="34" charset="0"/>
              <a:ea typeface="MS PGothic"/>
              <a:cs typeface="Arial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D556C89-2B20-4B71-8303-3368178A1C6C}"/>
              </a:ext>
            </a:extLst>
          </p:cNvPr>
          <p:cNvSpPr txBox="1"/>
          <p:nvPr/>
        </p:nvSpPr>
        <p:spPr>
          <a:xfrm>
            <a:off x="5290358" y="758992"/>
            <a:ext cx="1598122" cy="715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3" b="1" dirty="0">
                <a:solidFill>
                  <a:srgbClr val="696969"/>
                </a:solidFill>
                <a:latin typeface="Arial" panose="020B0604020202020204" pitchFamily="34" charset="0"/>
                <a:ea typeface="MS PGothic"/>
                <a:cs typeface="Arial" charset="0"/>
              </a:rPr>
              <a:t>Предприятия без смертельных случаев 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3" b="1" dirty="0">
                <a:solidFill>
                  <a:srgbClr val="696969"/>
                </a:solidFill>
                <a:latin typeface="Arial" panose="020B0604020202020204" pitchFamily="34" charset="0"/>
                <a:ea typeface="MS PGothic"/>
                <a:cs typeface="Arial" charset="0"/>
              </a:rPr>
              <a:t>2022</a:t>
            </a:r>
            <a:endParaRPr lang="en-US" sz="1013" b="1" dirty="0">
              <a:solidFill>
                <a:srgbClr val="696969"/>
              </a:solidFill>
              <a:latin typeface="Arial" panose="020B0604020202020204" pitchFamily="34" charset="0"/>
              <a:ea typeface="MS PGothic"/>
              <a:cs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73959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191F0443-F0B7-B94A-913E-32B69E83021B}"/>
              </a:ext>
            </a:extLst>
          </p:cNvPr>
          <p:cNvSpPr txBox="1">
            <a:spLocks/>
          </p:cNvSpPr>
          <p:nvPr/>
        </p:nvSpPr>
        <p:spPr>
          <a:xfrm>
            <a:off x="260266" y="254665"/>
            <a:ext cx="5481297" cy="599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5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endParaRPr lang="en-US" sz="25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 descr="Shape&#10;&#10;Description automatically generated">
            <a:extLst>
              <a:ext uri="{FF2B5EF4-FFF2-40B4-BE49-F238E27FC236}">
                <a16:creationId xmlns:a16="http://schemas.microsoft.com/office/drawing/2014/main" id="{93E2CE60-2B84-7840-B6CF-1F11E6A614E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alphaModFix amt="8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4" y="0"/>
            <a:ext cx="6611961" cy="5143500"/>
          </a:xfrm>
          <a:prstGeom prst="rect">
            <a:avLst/>
          </a:prstGeom>
        </p:spPr>
      </p:pic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2ACF7AA0-EA21-254B-BDDB-F16D7F147B32}"/>
              </a:ext>
            </a:extLst>
          </p:cNvPr>
          <p:cNvSpPr txBox="1">
            <a:spLocks/>
          </p:cNvSpPr>
          <p:nvPr/>
        </p:nvSpPr>
        <p:spPr>
          <a:xfrm>
            <a:off x="0" y="5273232"/>
            <a:ext cx="3850989" cy="7529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***Changing imagery***</a:t>
            </a:r>
            <a:b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1   Right click on the image and select ‘Change picture’</a:t>
            </a:r>
            <a:b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2   Choose your replacement</a:t>
            </a:r>
            <a:b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3   Use the crop tool to scale and position within the shape</a:t>
            </a: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7D3AFD17-8B00-DB96-40BB-F6A47B9675A0}"/>
              </a:ext>
            </a:extLst>
          </p:cNvPr>
          <p:cNvSpPr txBox="1">
            <a:spLocks/>
          </p:cNvSpPr>
          <p:nvPr/>
        </p:nvSpPr>
        <p:spPr>
          <a:xfrm>
            <a:off x="260266" y="4421115"/>
            <a:ext cx="5481297" cy="5996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Наши Золотые правила спасения жизни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F97F21A-5754-2FB1-C3B5-A50E25F119E2}"/>
              </a:ext>
            </a:extLst>
          </p:cNvPr>
          <p:cNvGrpSpPr/>
          <p:nvPr/>
        </p:nvGrpSpPr>
        <p:grpSpPr>
          <a:xfrm>
            <a:off x="291184" y="1027148"/>
            <a:ext cx="8602213" cy="3044518"/>
            <a:chOff x="377445" y="1018704"/>
            <a:chExt cx="8389110" cy="2969096"/>
          </a:xfrm>
        </p:grpSpPr>
        <p:pic>
          <p:nvPicPr>
            <p:cNvPr id="33" name="Image 11">
              <a:extLst>
                <a:ext uri="{FF2B5EF4-FFF2-40B4-BE49-F238E27FC236}">
                  <a16:creationId xmlns:a16="http://schemas.microsoft.com/office/drawing/2014/main" id="{E054C5C0-4C85-014F-0B76-B3A2A6836E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86201" y="1018704"/>
              <a:ext cx="1371600" cy="1371600"/>
            </a:xfrm>
            <a:prstGeom prst="ellipse">
              <a:avLst/>
            </a:prstGeom>
          </p:spPr>
        </p:pic>
        <p:pic>
          <p:nvPicPr>
            <p:cNvPr id="34" name="Image 15">
              <a:extLst>
                <a:ext uri="{FF2B5EF4-FFF2-40B4-BE49-F238E27FC236}">
                  <a16:creationId xmlns:a16="http://schemas.microsoft.com/office/drawing/2014/main" id="{F878BFE6-DCC9-58A8-D130-6DFAA10352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1823" y="2616200"/>
              <a:ext cx="1371600" cy="1371600"/>
            </a:xfrm>
            <a:prstGeom prst="ellipse">
              <a:avLst/>
            </a:prstGeom>
          </p:spPr>
        </p:pic>
        <p:pic>
          <p:nvPicPr>
            <p:cNvPr id="35" name="Image 2">
              <a:extLst>
                <a:ext uri="{FF2B5EF4-FFF2-40B4-BE49-F238E27FC236}">
                  <a16:creationId xmlns:a16="http://schemas.microsoft.com/office/drawing/2014/main" id="{C00F74A9-3919-F1F7-6BD2-E10BE0F11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94955" y="2616200"/>
              <a:ext cx="1371600" cy="1371600"/>
            </a:xfrm>
            <a:prstGeom prst="ellipse">
              <a:avLst/>
            </a:prstGeom>
          </p:spPr>
        </p:pic>
        <p:pic>
          <p:nvPicPr>
            <p:cNvPr id="36" name="Image 21">
              <a:extLst>
                <a:ext uri="{FF2B5EF4-FFF2-40B4-BE49-F238E27FC236}">
                  <a16:creationId xmlns:a16="http://schemas.microsoft.com/office/drawing/2014/main" id="{BA3A6835-EEBF-E5A4-7668-65773B14A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94955" y="1018704"/>
              <a:ext cx="1371600" cy="1371600"/>
            </a:xfrm>
            <a:prstGeom prst="ellipse">
              <a:avLst/>
            </a:prstGeom>
          </p:spPr>
        </p:pic>
        <p:pic>
          <p:nvPicPr>
            <p:cNvPr id="37" name="Image 25">
              <a:extLst>
                <a:ext uri="{FF2B5EF4-FFF2-40B4-BE49-F238E27FC236}">
                  <a16:creationId xmlns:a16="http://schemas.microsoft.com/office/drawing/2014/main" id="{C49FE8D8-9149-D260-872C-6BADD029376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1823" y="1018704"/>
              <a:ext cx="1371600" cy="1371600"/>
            </a:xfrm>
            <a:prstGeom prst="ellipse">
              <a:avLst/>
            </a:prstGeom>
          </p:spPr>
        </p:pic>
        <p:pic>
          <p:nvPicPr>
            <p:cNvPr id="38" name="Image 28">
              <a:extLst>
                <a:ext uri="{FF2B5EF4-FFF2-40B4-BE49-F238E27FC236}">
                  <a16:creationId xmlns:a16="http://schemas.microsoft.com/office/drawing/2014/main" id="{DF6FEBF2-63BC-232E-09EE-408A929DCF6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86201" y="2616200"/>
              <a:ext cx="1371600" cy="1371600"/>
            </a:xfrm>
            <a:prstGeom prst="ellipse">
              <a:avLst/>
            </a:prstGeom>
          </p:spPr>
        </p:pic>
        <p:pic>
          <p:nvPicPr>
            <p:cNvPr id="39" name="Image 29">
              <a:extLst>
                <a:ext uri="{FF2B5EF4-FFF2-40B4-BE49-F238E27FC236}">
                  <a16:creationId xmlns:a16="http://schemas.microsoft.com/office/drawing/2014/main" id="{240B7966-8ADE-0804-A3F5-F3C66726BB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7445" y="1018704"/>
              <a:ext cx="1371600" cy="1371268"/>
            </a:xfrm>
            <a:prstGeom prst="ellipse">
              <a:avLst/>
            </a:prstGeom>
          </p:spPr>
        </p:pic>
        <p:pic>
          <p:nvPicPr>
            <p:cNvPr id="40" name="Image 50">
              <a:extLst>
                <a:ext uri="{FF2B5EF4-FFF2-40B4-BE49-F238E27FC236}">
                  <a16:creationId xmlns:a16="http://schemas.microsoft.com/office/drawing/2014/main" id="{542AB052-1844-1D96-24D9-D72E7C70D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7445" y="2616200"/>
              <a:ext cx="1371600" cy="1371600"/>
            </a:xfrm>
            <a:prstGeom prst="ellipse">
              <a:avLst/>
            </a:prstGeom>
          </p:spPr>
        </p:pic>
        <p:pic>
          <p:nvPicPr>
            <p:cNvPr id="41" name="Image 19">
              <a:extLst>
                <a:ext uri="{FF2B5EF4-FFF2-40B4-BE49-F238E27FC236}">
                  <a16:creationId xmlns:a16="http://schemas.microsoft.com/office/drawing/2014/main" id="{166EF852-9FBC-352E-9737-D97E2EC811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40578" y="1018704"/>
              <a:ext cx="1371600" cy="1371600"/>
            </a:xfrm>
            <a:prstGeom prst="ellipse">
              <a:avLst/>
            </a:prstGeom>
          </p:spPr>
        </p:pic>
        <p:pic>
          <p:nvPicPr>
            <p:cNvPr id="42" name="Image 52">
              <a:extLst>
                <a:ext uri="{FF2B5EF4-FFF2-40B4-BE49-F238E27FC236}">
                  <a16:creationId xmlns:a16="http://schemas.microsoft.com/office/drawing/2014/main" id="{B917E244-D01C-1E9C-317A-88F249CB6A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40578" y="2616200"/>
              <a:ext cx="1371600" cy="1371600"/>
            </a:xfrm>
            <a:prstGeom prst="ellipse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5475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_S5QsSSmy8mqtHuQ50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R0lTslQiaBHXkDEtwo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qknQHSSQOBEPnsNQcF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_Tv2kBQJOhYwbbIbap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pLOFAsR66dKoSIhpXW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.WQFXVRoSdxgZUde23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NzqhNxTjScO9XNzp8y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NKQp8YQge3WDt7CFvD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XnyOUhT16QZHRAAwrD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Po4BYATHCKQcyhSHbn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iOCH9aSWuNTWhQ3zv7iw"/>
</p:tagLst>
</file>

<file path=ppt/theme/theme1.xml><?xml version="1.0" encoding="utf-8"?>
<a:theme xmlns:a="http://schemas.openxmlformats.org/drawingml/2006/main" name="7_PresentationV8">
  <a:themeElements>
    <a:clrScheme name="AM 2022">
      <a:dk1>
        <a:srgbClr val="414141"/>
      </a:dk1>
      <a:lt1>
        <a:srgbClr val="FFFFFF"/>
      </a:lt1>
      <a:dk2>
        <a:srgbClr val="FF3700"/>
      </a:dk2>
      <a:lt2>
        <a:srgbClr val="0070C0"/>
      </a:lt2>
      <a:accent1>
        <a:srgbClr val="460A78"/>
      </a:accent1>
      <a:accent2>
        <a:srgbClr val="BE2878"/>
      </a:accent2>
      <a:accent3>
        <a:srgbClr val="E63C41"/>
      </a:accent3>
      <a:accent4>
        <a:srgbClr val="F58746"/>
      </a:accent4>
      <a:accent5>
        <a:srgbClr val="FFBE6E"/>
      </a:accent5>
      <a:accent6>
        <a:srgbClr val="EAEAEA"/>
      </a:accent6>
      <a:hlink>
        <a:srgbClr val="505050"/>
      </a:hlink>
      <a:folHlink>
        <a:srgbClr val="414141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 template 16x9" id="{2080C811-E281-4F53-A338-B1B429535C64}" vid="{EAE1C29F-A62A-497F-AC0B-627198192C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969CAA70C13A4D80A79A6B0A3E88BF" ma:contentTypeVersion="15" ma:contentTypeDescription="Create a new document." ma:contentTypeScope="" ma:versionID="583e8731a964f6c17b19fd9dd4536a94">
  <xsd:schema xmlns:xsd="http://www.w3.org/2001/XMLSchema" xmlns:xs="http://www.w3.org/2001/XMLSchema" xmlns:p="http://schemas.microsoft.com/office/2006/metadata/properties" xmlns:ns3="d0b345ce-c3d8-421e-bf2f-28ed1df31c6f" xmlns:ns4="a78d5c32-77f1-427c-b148-6fd322ec024b" targetNamespace="http://schemas.microsoft.com/office/2006/metadata/properties" ma:root="true" ma:fieldsID="dc850513fe19541d34fe5d29e7cbc215" ns3:_="" ns4:_="">
    <xsd:import namespace="d0b345ce-c3d8-421e-bf2f-28ed1df31c6f"/>
    <xsd:import namespace="a78d5c32-77f1-427c-b148-6fd322ec024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b345ce-c3d8-421e-bf2f-28ed1df31c6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8d5c32-77f1-427c-b148-6fd322ec02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78d5c32-77f1-427c-b148-6fd322ec024b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BC2E293-6183-4E09-9855-7F2741F4D3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b345ce-c3d8-421e-bf2f-28ed1df31c6f"/>
    <ds:schemaRef ds:uri="a78d5c32-77f1-427c-b148-6fd322ec024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4AAFCDC-66F1-4127-9A71-D1A41A44291D}">
  <ds:schemaRefs>
    <ds:schemaRef ds:uri="http://schemas.microsoft.com/office/2006/documentManagement/types"/>
    <ds:schemaRef ds:uri="d0b345ce-c3d8-421e-bf2f-28ed1df31c6f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a78d5c32-77f1-427c-b148-6fd322ec024b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60EDB08-B10C-49C8-9A4C-FBB272F1952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69</TotalTime>
  <Words>694</Words>
  <Application>Microsoft Office PowerPoint</Application>
  <PresentationFormat>Экран (16:9)</PresentationFormat>
  <Paragraphs>127</Paragraphs>
  <Slides>9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5" baseType="lpstr">
      <vt:lpstr>Arial</vt:lpstr>
      <vt:lpstr>Arial Black</vt:lpstr>
      <vt:lpstr>Calibri</vt:lpstr>
      <vt:lpstr>Gilroy</vt:lpstr>
      <vt:lpstr>7_PresentationV8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Древа принятия решений по PSIF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den, Ian</dc:creator>
  <cp:lastModifiedBy>123</cp:lastModifiedBy>
  <cp:revision>59</cp:revision>
  <cp:lastPrinted>2023-05-23T03:54:41Z</cp:lastPrinted>
  <dcterms:created xsi:type="dcterms:W3CDTF">2019-08-07T16:42:59Z</dcterms:created>
  <dcterms:modified xsi:type="dcterms:W3CDTF">2023-05-23T10:1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969CAA70C13A4D80A79A6B0A3E88BF</vt:lpwstr>
  </property>
</Properties>
</file>